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289" r:id="rId2"/>
    <p:sldId id="371" r:id="rId3"/>
    <p:sldId id="950" r:id="rId4"/>
    <p:sldId id="941" r:id="rId5"/>
    <p:sldId id="948" r:id="rId6"/>
  </p:sldIdLst>
  <p:sldSz cx="11949113" cy="6721475"/>
  <p:notesSz cx="6954838" cy="9236075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37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19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2960"/>
    <a:srgbClr val="45567C"/>
    <a:srgbClr val="0563BB"/>
    <a:srgbClr val="0354B0"/>
    <a:srgbClr val="0049A6"/>
    <a:srgbClr val="0457B5"/>
    <a:srgbClr val="10A2ED"/>
    <a:srgbClr val="087CE3"/>
    <a:srgbClr val="055CB9"/>
    <a:srgbClr val="035C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232" autoAdjust="0"/>
    <p:restoredTop sz="91487" autoAdjust="0"/>
  </p:normalViewPr>
  <p:slideViewPr>
    <p:cSldViewPr snapToGrid="0" snapToObjects="1">
      <p:cViewPr varScale="1">
        <p:scale>
          <a:sx n="118" d="100"/>
          <a:sy n="118" d="100"/>
        </p:scale>
        <p:origin x="936" y="102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909"/>
        <p:guide pos="219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628352490421452E-3"/>
          <c:y val="3.4875922199865864E-2"/>
          <c:w val="0.98467432950191569"/>
          <c:h val="0.930248155600268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D202C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173A-49FB-AB39-B7ABC7745F8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173A-49FB-AB39-B7ABC7745F81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173A-49FB-AB39-B7ABC7745F81}"/>
              </c:ext>
            </c:extLst>
          </c:dPt>
          <c:dPt>
            <c:idx val="9"/>
            <c:invertIfNegative val="0"/>
            <c:bubble3D val="0"/>
            <c:spPr>
              <a:solidFill>
                <a:srgbClr val="00B050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173A-49FB-AB39-B7ABC7745F81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2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173A-49FB-AB39-B7ABC7745F81}"/>
              </c:ext>
            </c:extLst>
          </c:dPt>
          <c:dLbls>
            <c:dLbl>
              <c:idx val="1"/>
              <c:layout>
                <c:manualLayout>
                  <c:x val="0"/>
                  <c:y val="-6.4386317907444673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73A-49FB-AB39-B7ABC7745F81}"/>
                </c:ext>
              </c:extLst>
            </c:dLbl>
            <c:dLbl>
              <c:idx val="2"/>
              <c:layout>
                <c:manualLayout>
                  <c:x val="0"/>
                  <c:y val="-5.9691482226693494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73A-49FB-AB39-B7ABC7745F81}"/>
                </c:ext>
              </c:extLst>
            </c:dLbl>
            <c:dLbl>
              <c:idx val="3"/>
              <c:layout>
                <c:manualLayout>
                  <c:x val="0"/>
                  <c:y val="-5.7679409792085849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73A-49FB-AB39-B7ABC7745F81}"/>
                </c:ext>
              </c:extLst>
            </c:dLbl>
            <c:dLbl>
              <c:idx val="4"/>
              <c:layout>
                <c:manualLayout>
                  <c:x val="0"/>
                  <c:y val="-5.6338028169014086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73A-49FB-AB39-B7ABC7745F81}"/>
                </c:ext>
              </c:extLst>
            </c:dLbl>
            <c:dLbl>
              <c:idx val="6"/>
              <c:layout>
                <c:manualLayout>
                  <c:x val="0"/>
                  <c:y val="-5.7008718980549968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73A-49FB-AB39-B7ABC7745F81}"/>
                </c:ext>
              </c:extLst>
            </c:dLbl>
            <c:dLbl>
              <c:idx val="7"/>
              <c:layout>
                <c:manualLayout>
                  <c:x val="0"/>
                  <c:y val="-5.9020791415157613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73A-49FB-AB39-B7ABC7745F81}"/>
                </c:ext>
              </c:extLst>
            </c:dLbl>
            <c:dLbl>
              <c:idx val="8"/>
              <c:layout>
                <c:manualLayout>
                  <c:x val="0"/>
                  <c:y val="-6.304493628437291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73A-49FB-AB39-B7ABC7745F81}"/>
                </c:ext>
              </c:extLst>
            </c:dLbl>
            <c:dLbl>
              <c:idx val="9"/>
              <c:layout>
                <c:manualLayout>
                  <c:x val="0"/>
                  <c:y val="-0.10529845741113347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73A-49FB-AB39-B7ABC7745F8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-1023.0140566305701</c:v>
                </c:pt>
                <c:pt idx="1">
                  <c:v>-148.94996835035565</c:v>
                </c:pt>
                <c:pt idx="2">
                  <c:v>-64.239445800320354</c:v>
                </c:pt>
                <c:pt idx="3">
                  <c:v>-32.572592861227896</c:v>
                </c:pt>
                <c:pt idx="4">
                  <c:v>-9.5864156500074262</c:v>
                </c:pt>
                <c:pt idx="5">
                  <c:v>2.2006197283900808</c:v>
                </c:pt>
                <c:pt idx="6">
                  <c:v>19.177782368195963</c:v>
                </c:pt>
                <c:pt idx="7">
                  <c:v>53.853692210731353</c:v>
                </c:pt>
                <c:pt idx="8">
                  <c:v>126.60666851706358</c:v>
                </c:pt>
                <c:pt idx="9">
                  <c:v>850.03065788763809</c:v>
                </c:pt>
                <c:pt idx="10">
                  <c:v>3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73A-49FB-AB39-B7ABC7745F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697606160"/>
        <c:axId val="1"/>
      </c:barChart>
      <c:catAx>
        <c:axId val="6976061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808080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6400"/>
          <c:min val="-1562.4195610947024"/>
        </c:scaling>
        <c:delete val="1"/>
        <c:axPos val="l"/>
        <c:numFmt formatCode="General" sourceLinked="1"/>
        <c:majorTickMark val="out"/>
        <c:minorTickMark val="none"/>
        <c:tickLblPos val="nextTo"/>
        <c:crossAx val="6976061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628352490421452E-3"/>
          <c:y val="3.4875922199865864E-2"/>
          <c:w val="0.98467432950191569"/>
          <c:h val="0.930248155600268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D202C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3BAD-448E-BFEC-1A5814BFC7A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3BAD-448E-BFEC-1A5814BFC7A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3BAD-448E-BFEC-1A5814BFC7A2}"/>
              </c:ext>
            </c:extLst>
          </c:dPt>
          <c:dPt>
            <c:idx val="9"/>
            <c:invertIfNegative val="0"/>
            <c:bubble3D val="0"/>
            <c:spPr>
              <a:solidFill>
                <a:srgbClr val="00B050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3BAD-448E-BFEC-1A5814BFC7A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2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3BAD-448E-BFEC-1A5814BFC7A2}"/>
              </c:ext>
            </c:extLst>
          </c:dPt>
          <c:dLbls>
            <c:dLbl>
              <c:idx val="1"/>
              <c:layout>
                <c:manualLayout>
                  <c:x val="0"/>
                  <c:y val="-7.3105298457411136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BAD-448E-BFEC-1A5814BFC7A2}"/>
                </c:ext>
              </c:extLst>
            </c:dLbl>
            <c:dLbl>
              <c:idx val="2"/>
              <c:layout>
                <c:manualLayout>
                  <c:x val="0"/>
                  <c:y val="-6.2374245472837021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BAD-448E-BFEC-1A5814BFC7A2}"/>
                </c:ext>
              </c:extLst>
            </c:dLbl>
            <c:dLbl>
              <c:idx val="3"/>
              <c:layout>
                <c:manualLayout>
                  <c:x val="0"/>
                  <c:y val="-5.8350100603621731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3BAD-448E-BFEC-1A5814BFC7A2}"/>
                </c:ext>
              </c:extLst>
            </c:dLbl>
            <c:dLbl>
              <c:idx val="4"/>
              <c:layout>
                <c:manualLayout>
                  <c:x val="0"/>
                  <c:y val="-5.7008718980549968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3BAD-448E-BFEC-1A5814BFC7A2}"/>
                </c:ext>
              </c:extLst>
            </c:dLbl>
            <c:dLbl>
              <c:idx val="6"/>
              <c:layout>
                <c:manualLayout>
                  <c:x val="0"/>
                  <c:y val="-5.7679409792085849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3BAD-448E-BFEC-1A5814BFC7A2}"/>
                </c:ext>
              </c:extLst>
            </c:dLbl>
            <c:dLbl>
              <c:idx val="7"/>
              <c:layout>
                <c:manualLayout>
                  <c:x val="0"/>
                  <c:y val="-6.0362173038229376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3BAD-448E-BFEC-1A5814BFC7A2}"/>
                </c:ext>
              </c:extLst>
            </c:dLbl>
            <c:dLbl>
              <c:idx val="8"/>
              <c:layout>
                <c:manualLayout>
                  <c:x val="0"/>
                  <c:y val="-6.70690811535882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BAD-448E-BFEC-1A5814BFC7A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-1562.4195610947024</c:v>
                </c:pt>
                <c:pt idx="1">
                  <c:v>-296.67888543355201</c:v>
                </c:pt>
                <c:pt idx="2">
                  <c:v>-117.44121118840158</c:v>
                </c:pt>
                <c:pt idx="3">
                  <c:v>-48.501326570430443</c:v>
                </c:pt>
                <c:pt idx="4">
                  <c:v>-15.801819320466631</c:v>
                </c:pt>
                <c:pt idx="5">
                  <c:v>6.9730567536689092</c:v>
                </c:pt>
                <c:pt idx="6">
                  <c:v>33.8104710392304</c:v>
                </c:pt>
                <c:pt idx="7">
                  <c:v>79.942427513680371</c:v>
                </c:pt>
                <c:pt idx="8">
                  <c:v>192.00470475447426</c:v>
                </c:pt>
                <c:pt idx="9">
                  <c:v>1354.9591124394635</c:v>
                </c:pt>
                <c:pt idx="10">
                  <c:v>6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BAD-448E-BFEC-1A5814BFC7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697607760"/>
        <c:axId val="1"/>
      </c:barChart>
      <c:catAx>
        <c:axId val="6976077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808080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6400"/>
          <c:min val="-1562.4195610947024"/>
        </c:scaling>
        <c:delete val="1"/>
        <c:axPos val="l"/>
        <c:numFmt formatCode="General" sourceLinked="1"/>
        <c:majorTickMark val="out"/>
        <c:minorTickMark val="none"/>
        <c:tickLblPos val="nextTo"/>
        <c:crossAx val="6976077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030816640986132E-2"/>
          <c:y val="1.6204425054534122E-2"/>
          <c:w val="0.95993836671802779"/>
          <c:h val="0.96759114989093176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E3D-4E53-9D49-99B13633C45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.22442164989320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E3D-4E53-9D49-99B13633C45F}"/>
            </c:ext>
          </c:extLst>
        </c:ser>
        <c:ser>
          <c:idx val="1"/>
          <c:order val="1"/>
          <c:spPr>
            <a:solidFill>
              <a:schemeClr val="accent2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E3D-4E53-9D49-99B13633C45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3.43519918265860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E3D-4E53-9D49-99B13633C45F}"/>
            </c:ext>
          </c:extLst>
        </c:ser>
        <c:ser>
          <c:idx val="2"/>
          <c:order val="2"/>
          <c:spPr>
            <a:solidFill>
              <a:schemeClr val="accent3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E3D-4E53-9D49-99B13633C45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6.9589066285054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E3D-4E53-9D49-99B13633C45F}"/>
            </c:ext>
          </c:extLst>
        </c:ser>
        <c:ser>
          <c:idx val="3"/>
          <c:order val="3"/>
          <c:spPr>
            <a:solidFill>
              <a:schemeClr val="accent4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E3D-4E53-9D49-99B13633C45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</c:f>
              <c:numCache>
                <c:formatCode>General</c:formatCode>
                <c:ptCount val="1"/>
                <c:pt idx="0">
                  <c:v>9.90272813694452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E3D-4E53-9D49-99B13633C4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1"/>
        <c:axId val="1470970528"/>
        <c:axId val="1"/>
      </c:barChart>
      <c:catAx>
        <c:axId val="147097052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accent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.902728136944521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709705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928092042186E-2"/>
          <c:y val="1.6295832027577561E-2"/>
          <c:w val="0.95014381591562791"/>
          <c:h val="0.9674083359448448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3175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90</c:v>
                </c:pt>
                <c:pt idx="1">
                  <c:v>62.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51-4B66-8EDE-674FA9B66F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470971728"/>
        <c:axId val="1"/>
      </c:barChart>
      <c:catAx>
        <c:axId val="147097172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accent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709717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772563176895306E-2"/>
          <c:y val="1.8772563176895306E-2"/>
          <c:w val="0.9624548736462093"/>
          <c:h val="0.9624548736462093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5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7A50-472F-94DC-E88CEFFEC19E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7A50-472F-94DC-E88CEFFEC19E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7A50-472F-94DC-E88CEFFEC19E}"/>
              </c:ext>
            </c:extLst>
          </c:dPt>
          <c:dPt>
            <c:idx val="3"/>
            <c:bubble3D val="0"/>
            <c:spPr>
              <a:solidFill>
                <a:schemeClr val="accent3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7A50-472F-94DC-E88CEFFEC19E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7A50-472F-94DC-E88CEFFEC19E}"/>
              </c:ext>
            </c:extLst>
          </c:dPt>
          <c:dLbls>
            <c:dLbl>
              <c:idx val="0"/>
              <c:layout>
                <c:manualLayout>
                  <c:x val="8.8447653429602882E-2"/>
                  <c:y val="-0.16064981949458484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A50-472F-94DC-E88CEFFEC19E}"/>
                </c:ext>
              </c:extLst>
            </c:dLbl>
            <c:dLbl>
              <c:idx val="1"/>
              <c:layout>
                <c:manualLayout>
                  <c:x val="4.7653429602888084E-2"/>
                  <c:y val="0.1851985559566787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A50-472F-94DC-E88CEFFEC19E}"/>
                </c:ext>
              </c:extLst>
            </c:dLbl>
            <c:dLbl>
              <c:idx val="3"/>
              <c:layout>
                <c:manualLayout>
                  <c:x val="-0.14873646209386282"/>
                  <c:y val="-9.4584837545126352E-2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A50-472F-94DC-E88CEFFEC19E}"/>
                </c:ext>
              </c:extLst>
            </c:dLbl>
            <c:dLbl>
              <c:idx val="4"/>
              <c:layout>
                <c:manualLayout>
                  <c:x val="-5.8483754512635377E-2"/>
                  <c:y val="-0.18014440433212997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A50-472F-94DC-E88CEFFEC19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16</c:v>
                </c:pt>
                <c:pt idx="1">
                  <c:v>60</c:v>
                </c:pt>
                <c:pt idx="2">
                  <c:v>2</c:v>
                </c:pt>
                <c:pt idx="3">
                  <c:v>12</c:v>
                </c:pt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A50-472F-94DC-E88CEFFEC1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211050273768042E-2"/>
          <c:y val="2.8032345013477091E-2"/>
          <c:w val="0.87157789945246389"/>
          <c:h val="0.94393530997304587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5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54C0-408B-BCC5-07F4EEB70416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54C0-408B-BCC5-07F4EEB70416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54C0-408B-BCC5-07F4EEB70416}"/>
              </c:ext>
            </c:extLst>
          </c:dPt>
          <c:dPt>
            <c:idx val="3"/>
            <c:bubble3D val="0"/>
            <c:spPr>
              <a:solidFill>
                <a:schemeClr val="accent3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54C0-408B-BCC5-07F4EEB70416}"/>
              </c:ext>
            </c:extLst>
          </c:dPt>
          <c:dPt>
            <c:idx val="4"/>
            <c:bubble3D val="0"/>
            <c:spPr>
              <a:solidFill>
                <a:schemeClr val="accent4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54C0-408B-BCC5-07F4EEB70416}"/>
              </c:ext>
            </c:extLst>
          </c:dPt>
          <c:dLbls>
            <c:dLbl>
              <c:idx val="0"/>
              <c:layout>
                <c:manualLayout>
                  <c:x val="0.10900945744151319"/>
                  <c:y val="-7.4932614555256058E-2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4C0-408B-BCC5-07F4EEB70416}"/>
                </c:ext>
              </c:extLst>
            </c:dLbl>
            <c:dLbl>
              <c:idx val="1"/>
              <c:layout>
                <c:manualLayout>
                  <c:x val="-8.9596814335490299E-2"/>
                  <c:y val="0.10404312668463613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4C0-408B-BCC5-07F4EEB7041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32</c:v>
                </c:pt>
                <c:pt idx="1">
                  <c:v>60</c:v>
                </c:pt>
                <c:pt idx="2">
                  <c:v>4</c:v>
                </c:pt>
                <c:pt idx="3">
                  <c:v>4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4C0-408B-BCC5-07F4EEB704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01650" y="496888"/>
            <a:ext cx="6000750" cy="337502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63198" y="4962911"/>
            <a:ext cx="5926674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206638" y="8881841"/>
            <a:ext cx="551737" cy="1721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758310" y="106482"/>
            <a:ext cx="64" cy="111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eaLnBrk="1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3238" y="495300"/>
            <a:ext cx="5999162" cy="33750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3198" y="4962911"/>
            <a:ext cx="5926674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27025" fontAlgn="auto">
              <a:spcBef>
                <a:spcPts val="0"/>
              </a:spcBef>
              <a:spcAft>
                <a:spcPts val="0"/>
              </a:spcAft>
              <a:defRPr/>
            </a:pPr>
            <a:fld id="{3CACE17F-244B-5A4C-BB6A-ADD6E89FD7BA}" type="slidenum">
              <a:rPr lang="en-US">
                <a:solidFill>
                  <a:prstClr val="black"/>
                </a:solidFill>
                <a:latin typeface="Calibri"/>
              </a:rPr>
              <a:pPr defTabSz="427025" fontAlgn="auto">
                <a:spcBef>
                  <a:spcPts val="0"/>
                </a:spcBef>
                <a:spcAft>
                  <a:spcPts val="0"/>
                </a:spcAft>
                <a:defRPr/>
              </a:pPr>
              <a:t>1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037794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3238" y="495300"/>
            <a:ext cx="5999162" cy="33750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3198" y="4962911"/>
            <a:ext cx="5926674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59753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3238" y="495300"/>
            <a:ext cx="5999162" cy="33750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3198" y="4962911"/>
            <a:ext cx="5926674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05669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3238" y="495300"/>
            <a:ext cx="5999162" cy="33750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3198" y="4962911"/>
            <a:ext cx="5926674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23167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3238" y="495300"/>
            <a:ext cx="5999162" cy="33750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3198" y="4962911"/>
            <a:ext cx="5926674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20671-30A7-AF49-BFE7-47265BDD9E28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7663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3.jpg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4.emf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5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594749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58C7775-D78D-481C-A3CA-EB0CCB0F972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0.03.2019 11:57 W. Europ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Printed 20.03.2019 11:55 W. Europ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pSp>
        <p:nvGrpSpPr>
          <p:cNvPr id="15" name="LogoImage_blue">
            <a:extLst>
              <a:ext uri="{FF2B5EF4-FFF2-40B4-BE49-F238E27FC236}">
                <a16:creationId xmlns:a16="http://schemas.microsoft.com/office/drawing/2014/main" id="{745A69F1-E1E5-4E42-B2E5-66010117A7FF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29003" y="258214"/>
            <a:ext cx="1706951" cy="542847"/>
            <a:chOff x="0" y="973"/>
            <a:chExt cx="7680" cy="2374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77B787B1-EAE8-441E-8C14-F8CAFD92364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F84A5028-23E2-4F03-B7BE-A87B3D85DCD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</p:grpSp>
      <p:grpSp>
        <p:nvGrpSpPr>
          <p:cNvPr id="18" name="LogoImage_blue">
            <a:extLst>
              <a:ext uri="{FF2B5EF4-FFF2-40B4-BE49-F238E27FC236}">
                <a16:creationId xmlns:a16="http://schemas.microsoft.com/office/drawing/2014/main" id="{05F09DBF-DCC1-4BCE-9DC6-EBE88A20605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29003" y="258214"/>
            <a:ext cx="1706951" cy="542847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4563DF3B-626E-412C-AA7E-EED45959C71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A6F3835-A005-497A-90F0-9C9407C98EF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E62CA3-A4E4-4535-895B-8F36D57031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5552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20" name="think-cell Slide" r:id="rId6" imgW="451" imgH="450" progId="TCLayout.ActiveDocument.1">
                  <p:embed/>
                </p:oleObj>
              </mc:Choice>
              <mc:Fallback>
                <p:oleObj name="think-cell Slide" r:id="rId6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8153947-7313-4DE0-B61A-59FB15B0BB9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09343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35" name="think-cell Slide" r:id="rId6" imgW="386" imgH="386" progId="TCLayout.ActiveDocument.1">
                  <p:embed/>
                </p:oleObj>
              </mc:Choice>
              <mc:Fallback>
                <p:oleObj name="think-cell Slide" r:id="rId6" imgW="386" imgH="3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BD2C40-8875-4715-8C03-934DF04B79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irst Pag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244425" y="3360738"/>
            <a:ext cx="7704688" cy="1856704"/>
          </a:xfrm>
        </p:spPr>
        <p:txBody>
          <a:bodyPr lIns="0" tIns="72000" rIns="0">
            <a:noAutofit/>
          </a:bodyPr>
          <a:lstStyle>
            <a:lvl1pPr marL="0" indent="0">
              <a:lnSpc>
                <a:spcPct val="95000"/>
              </a:lnSpc>
              <a:spcAft>
                <a:spcPts val="1045"/>
              </a:spcAft>
              <a:buNone/>
              <a:defRPr sz="4704" spc="-78" baseline="0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1568" b="0">
                <a:solidFill>
                  <a:schemeClr val="bg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568" b="0">
                <a:solidFill>
                  <a:schemeClr val="bg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568"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56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ation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118111" y="3365586"/>
            <a:ext cx="7831002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4118111" y="5218984"/>
            <a:ext cx="7831002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4"/>
          <p:cNvGrpSpPr>
            <a:grpSpLocks noChangeAspect="1"/>
          </p:cNvGrpSpPr>
          <p:nvPr userDrawn="1"/>
        </p:nvGrpSpPr>
        <p:grpSpPr bwMode="auto">
          <a:xfrm>
            <a:off x="9500473" y="369070"/>
            <a:ext cx="2105962" cy="2156742"/>
            <a:chOff x="888" y="120"/>
            <a:chExt cx="3984" cy="4080"/>
          </a:xfrm>
          <a:solidFill>
            <a:srgbClr val="FFFFFF"/>
          </a:solidFill>
        </p:grpSpPr>
        <p:sp>
          <p:nvSpPr>
            <p:cNvPr id="16" name="AutoShape 3"/>
            <p:cNvSpPr>
              <a:spLocks noChangeAspect="1" noChangeArrowheads="1" noTextEdit="1"/>
            </p:cNvSpPr>
            <p:nvPr/>
          </p:nvSpPr>
          <p:spPr bwMode="auto">
            <a:xfrm>
              <a:off x="888" y="120"/>
              <a:ext cx="3984" cy="4080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17" name="Rectangle 5"/>
            <p:cNvSpPr>
              <a:spLocks noChangeArrowheads="1"/>
            </p:cNvSpPr>
            <p:nvPr/>
          </p:nvSpPr>
          <p:spPr bwMode="auto">
            <a:xfrm>
              <a:off x="909" y="3199"/>
              <a:ext cx="3963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1485" y="3320"/>
              <a:ext cx="213" cy="220"/>
            </a:xfrm>
            <a:custGeom>
              <a:avLst/>
              <a:gdLst>
                <a:gd name="T0" fmla="*/ 22 w 30"/>
                <a:gd name="T1" fmla="*/ 1 h 31"/>
                <a:gd name="T2" fmla="*/ 25 w 30"/>
                <a:gd name="T3" fmla="*/ 2 h 31"/>
                <a:gd name="T4" fmla="*/ 27 w 30"/>
                <a:gd name="T5" fmla="*/ 1 h 31"/>
                <a:gd name="T6" fmla="*/ 28 w 30"/>
                <a:gd name="T7" fmla="*/ 0 h 31"/>
                <a:gd name="T8" fmla="*/ 29 w 30"/>
                <a:gd name="T9" fmla="*/ 0 h 31"/>
                <a:gd name="T10" fmla="*/ 29 w 30"/>
                <a:gd name="T11" fmla="*/ 10 h 31"/>
                <a:gd name="T12" fmla="*/ 28 w 30"/>
                <a:gd name="T13" fmla="*/ 10 h 31"/>
                <a:gd name="T14" fmla="*/ 25 w 30"/>
                <a:gd name="T15" fmla="*/ 5 h 31"/>
                <a:gd name="T16" fmla="*/ 17 w 30"/>
                <a:gd name="T17" fmla="*/ 2 h 31"/>
                <a:gd name="T18" fmla="*/ 9 w 30"/>
                <a:gd name="T19" fmla="*/ 6 h 31"/>
                <a:gd name="T20" fmla="*/ 6 w 30"/>
                <a:gd name="T21" fmla="*/ 16 h 31"/>
                <a:gd name="T22" fmla="*/ 9 w 30"/>
                <a:gd name="T23" fmla="*/ 25 h 31"/>
                <a:gd name="T24" fmla="*/ 18 w 30"/>
                <a:gd name="T25" fmla="*/ 29 h 31"/>
                <a:gd name="T26" fmla="*/ 25 w 30"/>
                <a:gd name="T27" fmla="*/ 27 h 31"/>
                <a:gd name="T28" fmla="*/ 29 w 30"/>
                <a:gd name="T29" fmla="*/ 24 h 31"/>
                <a:gd name="T30" fmla="*/ 30 w 30"/>
                <a:gd name="T31" fmla="*/ 25 h 31"/>
                <a:gd name="T32" fmla="*/ 26 w 30"/>
                <a:gd name="T33" fmla="*/ 28 h 31"/>
                <a:gd name="T34" fmla="*/ 17 w 30"/>
                <a:gd name="T35" fmla="*/ 31 h 31"/>
                <a:gd name="T36" fmla="*/ 4 w 30"/>
                <a:gd name="T37" fmla="*/ 26 h 31"/>
                <a:gd name="T38" fmla="*/ 0 w 30"/>
                <a:gd name="T39" fmla="*/ 16 h 31"/>
                <a:gd name="T40" fmla="*/ 5 w 30"/>
                <a:gd name="T41" fmla="*/ 5 h 31"/>
                <a:gd name="T42" fmla="*/ 17 w 30"/>
                <a:gd name="T43" fmla="*/ 0 h 31"/>
                <a:gd name="T44" fmla="*/ 22 w 30"/>
                <a:gd name="T4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" h="31">
                  <a:moveTo>
                    <a:pt x="22" y="1"/>
                  </a:moveTo>
                  <a:cubicBezTo>
                    <a:pt x="24" y="1"/>
                    <a:pt x="25" y="2"/>
                    <a:pt x="25" y="2"/>
                  </a:cubicBezTo>
                  <a:cubicBezTo>
                    <a:pt x="26" y="2"/>
                    <a:pt x="26" y="1"/>
                    <a:pt x="27" y="1"/>
                  </a:cubicBezTo>
                  <a:cubicBezTo>
                    <a:pt x="27" y="1"/>
                    <a:pt x="27" y="1"/>
                    <a:pt x="28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7" y="8"/>
                    <a:pt x="26" y="7"/>
                    <a:pt x="25" y="5"/>
                  </a:cubicBezTo>
                  <a:cubicBezTo>
                    <a:pt x="23" y="3"/>
                    <a:pt x="21" y="2"/>
                    <a:pt x="17" y="2"/>
                  </a:cubicBezTo>
                  <a:cubicBezTo>
                    <a:pt x="14" y="2"/>
                    <a:pt x="11" y="3"/>
                    <a:pt x="9" y="6"/>
                  </a:cubicBezTo>
                  <a:cubicBezTo>
                    <a:pt x="7" y="8"/>
                    <a:pt x="6" y="11"/>
                    <a:pt x="6" y="16"/>
                  </a:cubicBezTo>
                  <a:cubicBezTo>
                    <a:pt x="6" y="20"/>
                    <a:pt x="7" y="23"/>
                    <a:pt x="9" y="25"/>
                  </a:cubicBezTo>
                  <a:cubicBezTo>
                    <a:pt x="11" y="28"/>
                    <a:pt x="14" y="29"/>
                    <a:pt x="18" y="29"/>
                  </a:cubicBezTo>
                  <a:cubicBezTo>
                    <a:pt x="20" y="29"/>
                    <a:pt x="23" y="28"/>
                    <a:pt x="25" y="27"/>
                  </a:cubicBezTo>
                  <a:cubicBezTo>
                    <a:pt x="26" y="26"/>
                    <a:pt x="27" y="26"/>
                    <a:pt x="29" y="24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29" y="26"/>
                    <a:pt x="27" y="27"/>
                    <a:pt x="26" y="28"/>
                  </a:cubicBezTo>
                  <a:cubicBezTo>
                    <a:pt x="23" y="30"/>
                    <a:pt x="20" y="31"/>
                    <a:pt x="17" y="31"/>
                  </a:cubicBezTo>
                  <a:cubicBezTo>
                    <a:pt x="12" y="31"/>
                    <a:pt x="7" y="29"/>
                    <a:pt x="4" y="26"/>
                  </a:cubicBezTo>
                  <a:cubicBezTo>
                    <a:pt x="1" y="23"/>
                    <a:pt x="0" y="20"/>
                    <a:pt x="0" y="16"/>
                  </a:cubicBezTo>
                  <a:cubicBezTo>
                    <a:pt x="0" y="11"/>
                    <a:pt x="2" y="8"/>
                    <a:pt x="5" y="5"/>
                  </a:cubicBezTo>
                  <a:cubicBezTo>
                    <a:pt x="8" y="2"/>
                    <a:pt x="12" y="0"/>
                    <a:pt x="17" y="0"/>
                  </a:cubicBezTo>
                  <a:cubicBezTo>
                    <a:pt x="19" y="0"/>
                    <a:pt x="20" y="0"/>
                    <a:pt x="2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19" name="Freeform 7"/>
            <p:cNvSpPr>
              <a:spLocks noEditPoints="1"/>
            </p:cNvSpPr>
            <p:nvPr/>
          </p:nvSpPr>
          <p:spPr bwMode="auto">
            <a:xfrm>
              <a:off x="1726" y="3320"/>
              <a:ext cx="227" cy="220"/>
            </a:xfrm>
            <a:custGeom>
              <a:avLst/>
              <a:gdLst>
                <a:gd name="T0" fmla="*/ 5 w 32"/>
                <a:gd name="T1" fmla="*/ 4 h 31"/>
                <a:gd name="T2" fmla="*/ 16 w 32"/>
                <a:gd name="T3" fmla="*/ 0 h 31"/>
                <a:gd name="T4" fmla="*/ 28 w 32"/>
                <a:gd name="T5" fmla="*/ 4 h 31"/>
                <a:gd name="T6" fmla="*/ 32 w 32"/>
                <a:gd name="T7" fmla="*/ 15 h 31"/>
                <a:gd name="T8" fmla="*/ 27 w 32"/>
                <a:gd name="T9" fmla="*/ 27 h 31"/>
                <a:gd name="T10" fmla="*/ 16 w 32"/>
                <a:gd name="T11" fmla="*/ 31 h 31"/>
                <a:gd name="T12" fmla="*/ 5 w 32"/>
                <a:gd name="T13" fmla="*/ 26 h 31"/>
                <a:gd name="T14" fmla="*/ 0 w 32"/>
                <a:gd name="T15" fmla="*/ 15 h 31"/>
                <a:gd name="T16" fmla="*/ 5 w 32"/>
                <a:gd name="T17" fmla="*/ 4 h 31"/>
                <a:gd name="T18" fmla="*/ 9 w 32"/>
                <a:gd name="T19" fmla="*/ 26 h 31"/>
                <a:gd name="T20" fmla="*/ 16 w 32"/>
                <a:gd name="T21" fmla="*/ 29 h 31"/>
                <a:gd name="T22" fmla="*/ 24 w 32"/>
                <a:gd name="T23" fmla="*/ 26 h 31"/>
                <a:gd name="T24" fmla="*/ 27 w 32"/>
                <a:gd name="T25" fmla="*/ 15 h 31"/>
                <a:gd name="T26" fmla="*/ 24 w 32"/>
                <a:gd name="T27" fmla="*/ 5 h 31"/>
                <a:gd name="T28" fmla="*/ 16 w 32"/>
                <a:gd name="T29" fmla="*/ 2 h 31"/>
                <a:gd name="T30" fmla="*/ 9 w 32"/>
                <a:gd name="T31" fmla="*/ 5 h 31"/>
                <a:gd name="T32" fmla="*/ 6 w 32"/>
                <a:gd name="T33" fmla="*/ 15 h 31"/>
                <a:gd name="T34" fmla="*/ 9 w 32"/>
                <a:gd name="T35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1">
                  <a:moveTo>
                    <a:pt x="5" y="4"/>
                  </a:moveTo>
                  <a:cubicBezTo>
                    <a:pt x="8" y="1"/>
                    <a:pt x="12" y="0"/>
                    <a:pt x="16" y="0"/>
                  </a:cubicBezTo>
                  <a:cubicBezTo>
                    <a:pt x="21" y="0"/>
                    <a:pt x="24" y="1"/>
                    <a:pt x="28" y="4"/>
                  </a:cubicBezTo>
                  <a:cubicBezTo>
                    <a:pt x="31" y="7"/>
                    <a:pt x="32" y="11"/>
                    <a:pt x="32" y="15"/>
                  </a:cubicBezTo>
                  <a:cubicBezTo>
                    <a:pt x="32" y="20"/>
                    <a:pt x="31" y="24"/>
                    <a:pt x="27" y="27"/>
                  </a:cubicBezTo>
                  <a:cubicBezTo>
                    <a:pt x="24" y="29"/>
                    <a:pt x="21" y="31"/>
                    <a:pt x="16" y="31"/>
                  </a:cubicBezTo>
                  <a:cubicBezTo>
                    <a:pt x="12" y="31"/>
                    <a:pt x="8" y="29"/>
                    <a:pt x="5" y="26"/>
                  </a:cubicBezTo>
                  <a:cubicBezTo>
                    <a:pt x="2" y="24"/>
                    <a:pt x="0" y="20"/>
                    <a:pt x="0" y="15"/>
                  </a:cubicBezTo>
                  <a:cubicBezTo>
                    <a:pt x="0" y="11"/>
                    <a:pt x="2" y="7"/>
                    <a:pt x="5" y="4"/>
                  </a:cubicBezTo>
                  <a:close/>
                  <a:moveTo>
                    <a:pt x="9" y="26"/>
                  </a:moveTo>
                  <a:cubicBezTo>
                    <a:pt x="11" y="28"/>
                    <a:pt x="13" y="29"/>
                    <a:pt x="16" y="29"/>
                  </a:cubicBezTo>
                  <a:cubicBezTo>
                    <a:pt x="19" y="29"/>
                    <a:pt x="22" y="28"/>
                    <a:pt x="24" y="26"/>
                  </a:cubicBezTo>
                  <a:cubicBezTo>
                    <a:pt x="26" y="24"/>
                    <a:pt x="27" y="20"/>
                    <a:pt x="27" y="15"/>
                  </a:cubicBezTo>
                  <a:cubicBezTo>
                    <a:pt x="27" y="11"/>
                    <a:pt x="26" y="7"/>
                    <a:pt x="24" y="5"/>
                  </a:cubicBezTo>
                  <a:cubicBezTo>
                    <a:pt x="22" y="3"/>
                    <a:pt x="19" y="2"/>
                    <a:pt x="16" y="2"/>
                  </a:cubicBezTo>
                  <a:cubicBezTo>
                    <a:pt x="13" y="2"/>
                    <a:pt x="11" y="3"/>
                    <a:pt x="9" y="5"/>
                  </a:cubicBezTo>
                  <a:cubicBezTo>
                    <a:pt x="7" y="7"/>
                    <a:pt x="6" y="11"/>
                    <a:pt x="6" y="15"/>
                  </a:cubicBezTo>
                  <a:cubicBezTo>
                    <a:pt x="6" y="20"/>
                    <a:pt x="7" y="23"/>
                    <a:pt x="9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20" name="Freeform 8"/>
            <p:cNvSpPr>
              <a:spLocks/>
            </p:cNvSpPr>
            <p:nvPr/>
          </p:nvSpPr>
          <p:spPr bwMode="auto">
            <a:xfrm>
              <a:off x="1975" y="3327"/>
              <a:ext cx="298" cy="206"/>
            </a:xfrm>
            <a:custGeom>
              <a:avLst/>
              <a:gdLst>
                <a:gd name="T0" fmla="*/ 0 w 42"/>
                <a:gd name="T1" fmla="*/ 28 h 29"/>
                <a:gd name="T2" fmla="*/ 4 w 42"/>
                <a:gd name="T3" fmla="*/ 27 h 29"/>
                <a:gd name="T4" fmla="*/ 5 w 42"/>
                <a:gd name="T5" fmla="*/ 22 h 29"/>
                <a:gd name="T6" fmla="*/ 5 w 42"/>
                <a:gd name="T7" fmla="*/ 4 h 29"/>
                <a:gd name="T8" fmla="*/ 4 w 42"/>
                <a:gd name="T9" fmla="*/ 1 h 29"/>
                <a:gd name="T10" fmla="*/ 1 w 42"/>
                <a:gd name="T11" fmla="*/ 1 h 29"/>
                <a:gd name="T12" fmla="*/ 1 w 42"/>
                <a:gd name="T13" fmla="*/ 0 h 29"/>
                <a:gd name="T14" fmla="*/ 10 w 42"/>
                <a:gd name="T15" fmla="*/ 0 h 29"/>
                <a:gd name="T16" fmla="*/ 21 w 42"/>
                <a:gd name="T17" fmla="*/ 22 h 29"/>
                <a:gd name="T18" fmla="*/ 32 w 42"/>
                <a:gd name="T19" fmla="*/ 0 h 29"/>
                <a:gd name="T20" fmla="*/ 42 w 42"/>
                <a:gd name="T21" fmla="*/ 0 h 29"/>
                <a:gd name="T22" fmla="*/ 42 w 42"/>
                <a:gd name="T23" fmla="*/ 1 h 29"/>
                <a:gd name="T24" fmla="*/ 38 w 42"/>
                <a:gd name="T25" fmla="*/ 1 h 29"/>
                <a:gd name="T26" fmla="*/ 38 w 42"/>
                <a:gd name="T27" fmla="*/ 4 h 29"/>
                <a:gd name="T28" fmla="*/ 38 w 42"/>
                <a:gd name="T29" fmla="*/ 24 h 29"/>
                <a:gd name="T30" fmla="*/ 38 w 42"/>
                <a:gd name="T31" fmla="*/ 27 h 29"/>
                <a:gd name="T32" fmla="*/ 42 w 42"/>
                <a:gd name="T33" fmla="*/ 28 h 29"/>
                <a:gd name="T34" fmla="*/ 42 w 42"/>
                <a:gd name="T35" fmla="*/ 29 h 29"/>
                <a:gd name="T36" fmla="*/ 28 w 42"/>
                <a:gd name="T37" fmla="*/ 29 h 29"/>
                <a:gd name="T38" fmla="*/ 28 w 42"/>
                <a:gd name="T39" fmla="*/ 28 h 29"/>
                <a:gd name="T40" fmla="*/ 32 w 42"/>
                <a:gd name="T41" fmla="*/ 27 h 29"/>
                <a:gd name="T42" fmla="*/ 33 w 42"/>
                <a:gd name="T43" fmla="*/ 24 h 29"/>
                <a:gd name="T44" fmla="*/ 33 w 42"/>
                <a:gd name="T45" fmla="*/ 4 h 29"/>
                <a:gd name="T46" fmla="*/ 20 w 42"/>
                <a:gd name="T47" fmla="*/ 29 h 29"/>
                <a:gd name="T48" fmla="*/ 20 w 42"/>
                <a:gd name="T49" fmla="*/ 29 h 29"/>
                <a:gd name="T50" fmla="*/ 7 w 42"/>
                <a:gd name="T51" fmla="*/ 5 h 29"/>
                <a:gd name="T52" fmla="*/ 7 w 42"/>
                <a:gd name="T53" fmla="*/ 22 h 29"/>
                <a:gd name="T54" fmla="*/ 8 w 42"/>
                <a:gd name="T55" fmla="*/ 27 h 29"/>
                <a:gd name="T56" fmla="*/ 12 w 42"/>
                <a:gd name="T57" fmla="*/ 28 h 29"/>
                <a:gd name="T58" fmla="*/ 12 w 42"/>
                <a:gd name="T59" fmla="*/ 29 h 29"/>
                <a:gd name="T60" fmla="*/ 0 w 42"/>
                <a:gd name="T61" fmla="*/ 29 h 29"/>
                <a:gd name="T62" fmla="*/ 0 w 42"/>
                <a:gd name="T63" fmla="*/ 2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2" h="29">
                  <a:moveTo>
                    <a:pt x="0" y="28"/>
                  </a:moveTo>
                  <a:cubicBezTo>
                    <a:pt x="2" y="28"/>
                    <a:pt x="4" y="28"/>
                    <a:pt x="4" y="27"/>
                  </a:cubicBezTo>
                  <a:cubicBezTo>
                    <a:pt x="5" y="26"/>
                    <a:pt x="5" y="25"/>
                    <a:pt x="5" y="22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5" y="2"/>
                    <a:pt x="4" y="1"/>
                  </a:cubicBezTo>
                  <a:cubicBezTo>
                    <a:pt x="4" y="1"/>
                    <a:pt x="3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0" y="1"/>
                    <a:pt x="39" y="1"/>
                    <a:pt x="38" y="1"/>
                  </a:cubicBezTo>
                  <a:cubicBezTo>
                    <a:pt x="38" y="2"/>
                    <a:pt x="38" y="3"/>
                    <a:pt x="38" y="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6"/>
                    <a:pt x="38" y="27"/>
                    <a:pt x="38" y="27"/>
                  </a:cubicBezTo>
                  <a:cubicBezTo>
                    <a:pt x="39" y="28"/>
                    <a:pt x="40" y="28"/>
                    <a:pt x="42" y="28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30" y="28"/>
                    <a:pt x="31" y="28"/>
                    <a:pt x="32" y="27"/>
                  </a:cubicBezTo>
                  <a:cubicBezTo>
                    <a:pt x="32" y="27"/>
                    <a:pt x="33" y="26"/>
                    <a:pt x="33" y="24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5"/>
                    <a:pt x="8" y="26"/>
                    <a:pt x="8" y="27"/>
                  </a:cubicBezTo>
                  <a:cubicBezTo>
                    <a:pt x="9" y="28"/>
                    <a:pt x="10" y="28"/>
                    <a:pt x="12" y="28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0" y="29"/>
                    <a:pt x="0" y="29"/>
                    <a:pt x="0" y="29"/>
                  </a:cubicBez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auto">
            <a:xfrm>
              <a:off x="2308" y="3327"/>
              <a:ext cx="291" cy="206"/>
            </a:xfrm>
            <a:custGeom>
              <a:avLst/>
              <a:gdLst>
                <a:gd name="T0" fmla="*/ 0 w 41"/>
                <a:gd name="T1" fmla="*/ 28 h 29"/>
                <a:gd name="T2" fmla="*/ 4 w 41"/>
                <a:gd name="T3" fmla="*/ 27 h 29"/>
                <a:gd name="T4" fmla="*/ 5 w 41"/>
                <a:gd name="T5" fmla="*/ 22 h 29"/>
                <a:gd name="T6" fmla="*/ 5 w 41"/>
                <a:gd name="T7" fmla="*/ 4 h 29"/>
                <a:gd name="T8" fmla="*/ 4 w 41"/>
                <a:gd name="T9" fmla="*/ 1 h 29"/>
                <a:gd name="T10" fmla="*/ 0 w 41"/>
                <a:gd name="T11" fmla="*/ 1 h 29"/>
                <a:gd name="T12" fmla="*/ 0 w 41"/>
                <a:gd name="T13" fmla="*/ 0 h 29"/>
                <a:gd name="T14" fmla="*/ 10 w 41"/>
                <a:gd name="T15" fmla="*/ 0 h 29"/>
                <a:gd name="T16" fmla="*/ 21 w 41"/>
                <a:gd name="T17" fmla="*/ 22 h 29"/>
                <a:gd name="T18" fmla="*/ 32 w 41"/>
                <a:gd name="T19" fmla="*/ 0 h 29"/>
                <a:gd name="T20" fmla="*/ 41 w 41"/>
                <a:gd name="T21" fmla="*/ 0 h 29"/>
                <a:gd name="T22" fmla="*/ 41 w 41"/>
                <a:gd name="T23" fmla="*/ 1 h 29"/>
                <a:gd name="T24" fmla="*/ 38 w 41"/>
                <a:gd name="T25" fmla="*/ 1 h 29"/>
                <a:gd name="T26" fmla="*/ 37 w 41"/>
                <a:gd name="T27" fmla="*/ 4 h 29"/>
                <a:gd name="T28" fmla="*/ 37 w 41"/>
                <a:gd name="T29" fmla="*/ 24 h 29"/>
                <a:gd name="T30" fmla="*/ 38 w 41"/>
                <a:gd name="T31" fmla="*/ 27 h 29"/>
                <a:gd name="T32" fmla="*/ 41 w 41"/>
                <a:gd name="T33" fmla="*/ 28 h 29"/>
                <a:gd name="T34" fmla="*/ 41 w 41"/>
                <a:gd name="T35" fmla="*/ 29 h 29"/>
                <a:gd name="T36" fmla="*/ 28 w 41"/>
                <a:gd name="T37" fmla="*/ 29 h 29"/>
                <a:gd name="T38" fmla="*/ 28 w 41"/>
                <a:gd name="T39" fmla="*/ 28 h 29"/>
                <a:gd name="T40" fmla="*/ 31 w 41"/>
                <a:gd name="T41" fmla="*/ 27 h 29"/>
                <a:gd name="T42" fmla="*/ 32 w 41"/>
                <a:gd name="T43" fmla="*/ 24 h 29"/>
                <a:gd name="T44" fmla="*/ 32 w 41"/>
                <a:gd name="T45" fmla="*/ 4 h 29"/>
                <a:gd name="T46" fmla="*/ 20 w 41"/>
                <a:gd name="T47" fmla="*/ 29 h 29"/>
                <a:gd name="T48" fmla="*/ 19 w 41"/>
                <a:gd name="T49" fmla="*/ 29 h 29"/>
                <a:gd name="T50" fmla="*/ 7 w 41"/>
                <a:gd name="T51" fmla="*/ 5 h 29"/>
                <a:gd name="T52" fmla="*/ 7 w 41"/>
                <a:gd name="T53" fmla="*/ 22 h 29"/>
                <a:gd name="T54" fmla="*/ 8 w 41"/>
                <a:gd name="T55" fmla="*/ 27 h 29"/>
                <a:gd name="T56" fmla="*/ 11 w 41"/>
                <a:gd name="T57" fmla="*/ 28 h 29"/>
                <a:gd name="T58" fmla="*/ 11 w 41"/>
                <a:gd name="T59" fmla="*/ 29 h 29"/>
                <a:gd name="T60" fmla="*/ 0 w 41"/>
                <a:gd name="T61" fmla="*/ 29 h 29"/>
                <a:gd name="T62" fmla="*/ 0 w 41"/>
                <a:gd name="T63" fmla="*/ 2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29">
                  <a:moveTo>
                    <a:pt x="0" y="28"/>
                  </a:moveTo>
                  <a:cubicBezTo>
                    <a:pt x="2" y="28"/>
                    <a:pt x="3" y="28"/>
                    <a:pt x="4" y="27"/>
                  </a:cubicBezTo>
                  <a:cubicBezTo>
                    <a:pt x="4" y="26"/>
                    <a:pt x="5" y="25"/>
                    <a:pt x="5" y="22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4" y="2"/>
                    <a:pt x="4" y="1"/>
                  </a:cubicBezTo>
                  <a:cubicBezTo>
                    <a:pt x="3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0" y="1"/>
                    <a:pt x="38" y="1"/>
                    <a:pt x="38" y="1"/>
                  </a:cubicBezTo>
                  <a:cubicBezTo>
                    <a:pt x="37" y="2"/>
                    <a:pt x="37" y="3"/>
                    <a:pt x="37" y="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6"/>
                    <a:pt x="37" y="27"/>
                    <a:pt x="38" y="27"/>
                  </a:cubicBezTo>
                  <a:cubicBezTo>
                    <a:pt x="38" y="28"/>
                    <a:pt x="40" y="28"/>
                    <a:pt x="41" y="28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30" y="28"/>
                    <a:pt x="31" y="28"/>
                    <a:pt x="31" y="27"/>
                  </a:cubicBezTo>
                  <a:cubicBezTo>
                    <a:pt x="32" y="27"/>
                    <a:pt x="32" y="26"/>
                    <a:pt x="32" y="2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5"/>
                    <a:pt x="7" y="26"/>
                    <a:pt x="8" y="27"/>
                  </a:cubicBezTo>
                  <a:cubicBezTo>
                    <a:pt x="8" y="28"/>
                    <a:pt x="10" y="28"/>
                    <a:pt x="11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0" y="29"/>
                    <a:pt x="0" y="29"/>
                    <a:pt x="0" y="29"/>
                  </a:cubicBez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22" name="Freeform 10"/>
            <p:cNvSpPr>
              <a:spLocks/>
            </p:cNvSpPr>
            <p:nvPr/>
          </p:nvSpPr>
          <p:spPr bwMode="auto">
            <a:xfrm>
              <a:off x="2628" y="3327"/>
              <a:ext cx="106" cy="206"/>
            </a:xfrm>
            <a:custGeom>
              <a:avLst/>
              <a:gdLst>
                <a:gd name="T0" fmla="*/ 0 w 15"/>
                <a:gd name="T1" fmla="*/ 28 h 29"/>
                <a:gd name="T2" fmla="*/ 4 w 15"/>
                <a:gd name="T3" fmla="*/ 27 h 29"/>
                <a:gd name="T4" fmla="*/ 5 w 15"/>
                <a:gd name="T5" fmla="*/ 24 h 29"/>
                <a:gd name="T6" fmla="*/ 5 w 15"/>
                <a:gd name="T7" fmla="*/ 4 h 29"/>
                <a:gd name="T8" fmla="*/ 4 w 15"/>
                <a:gd name="T9" fmla="*/ 1 h 29"/>
                <a:gd name="T10" fmla="*/ 0 w 15"/>
                <a:gd name="T11" fmla="*/ 1 h 29"/>
                <a:gd name="T12" fmla="*/ 0 w 15"/>
                <a:gd name="T13" fmla="*/ 0 h 29"/>
                <a:gd name="T14" fmla="*/ 15 w 15"/>
                <a:gd name="T15" fmla="*/ 0 h 29"/>
                <a:gd name="T16" fmla="*/ 15 w 15"/>
                <a:gd name="T17" fmla="*/ 1 h 29"/>
                <a:gd name="T18" fmla="*/ 11 w 15"/>
                <a:gd name="T19" fmla="*/ 1 h 29"/>
                <a:gd name="T20" fmla="*/ 10 w 15"/>
                <a:gd name="T21" fmla="*/ 4 h 29"/>
                <a:gd name="T22" fmla="*/ 10 w 15"/>
                <a:gd name="T23" fmla="*/ 24 h 29"/>
                <a:gd name="T24" fmla="*/ 11 w 15"/>
                <a:gd name="T25" fmla="*/ 27 h 29"/>
                <a:gd name="T26" fmla="*/ 15 w 15"/>
                <a:gd name="T27" fmla="*/ 28 h 29"/>
                <a:gd name="T28" fmla="*/ 15 w 15"/>
                <a:gd name="T29" fmla="*/ 29 h 29"/>
                <a:gd name="T30" fmla="*/ 0 w 15"/>
                <a:gd name="T31" fmla="*/ 29 h 29"/>
                <a:gd name="T32" fmla="*/ 0 w 15"/>
                <a:gd name="T33" fmla="*/ 2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" h="29">
                  <a:moveTo>
                    <a:pt x="0" y="28"/>
                  </a:moveTo>
                  <a:cubicBezTo>
                    <a:pt x="2" y="28"/>
                    <a:pt x="4" y="28"/>
                    <a:pt x="4" y="27"/>
                  </a:cubicBezTo>
                  <a:cubicBezTo>
                    <a:pt x="5" y="27"/>
                    <a:pt x="5" y="26"/>
                    <a:pt x="5" y="2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5" y="2"/>
                    <a:pt x="4" y="1"/>
                  </a:cubicBezTo>
                  <a:cubicBezTo>
                    <a:pt x="4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1"/>
                    <a:pt x="11" y="1"/>
                    <a:pt x="11" y="1"/>
                  </a:cubicBezTo>
                  <a:cubicBezTo>
                    <a:pt x="10" y="2"/>
                    <a:pt x="10" y="3"/>
                    <a:pt x="10" y="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0" y="26"/>
                    <a:pt x="10" y="27"/>
                    <a:pt x="11" y="27"/>
                  </a:cubicBezTo>
                  <a:cubicBezTo>
                    <a:pt x="11" y="28"/>
                    <a:pt x="13" y="28"/>
                    <a:pt x="15" y="28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0" y="29"/>
                    <a:pt x="0" y="29"/>
                    <a:pt x="0" y="29"/>
                  </a:cubicBez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23" name="Freeform 11"/>
            <p:cNvSpPr>
              <a:spLocks/>
            </p:cNvSpPr>
            <p:nvPr/>
          </p:nvSpPr>
          <p:spPr bwMode="auto">
            <a:xfrm>
              <a:off x="2770" y="3327"/>
              <a:ext cx="199" cy="206"/>
            </a:xfrm>
            <a:custGeom>
              <a:avLst/>
              <a:gdLst>
                <a:gd name="T0" fmla="*/ 0 w 28"/>
                <a:gd name="T1" fmla="*/ 0 h 29"/>
                <a:gd name="T2" fmla="*/ 27 w 28"/>
                <a:gd name="T3" fmla="*/ 0 h 29"/>
                <a:gd name="T4" fmla="*/ 28 w 28"/>
                <a:gd name="T5" fmla="*/ 7 h 29"/>
                <a:gd name="T6" fmla="*/ 26 w 28"/>
                <a:gd name="T7" fmla="*/ 7 h 29"/>
                <a:gd name="T8" fmla="*/ 24 w 28"/>
                <a:gd name="T9" fmla="*/ 3 h 29"/>
                <a:gd name="T10" fmla="*/ 19 w 28"/>
                <a:gd name="T11" fmla="*/ 2 h 29"/>
                <a:gd name="T12" fmla="*/ 16 w 28"/>
                <a:gd name="T13" fmla="*/ 2 h 29"/>
                <a:gd name="T14" fmla="*/ 16 w 28"/>
                <a:gd name="T15" fmla="*/ 24 h 29"/>
                <a:gd name="T16" fmla="*/ 17 w 28"/>
                <a:gd name="T17" fmla="*/ 27 h 29"/>
                <a:gd name="T18" fmla="*/ 21 w 28"/>
                <a:gd name="T19" fmla="*/ 28 h 29"/>
                <a:gd name="T20" fmla="*/ 21 w 28"/>
                <a:gd name="T21" fmla="*/ 29 h 29"/>
                <a:gd name="T22" fmla="*/ 7 w 28"/>
                <a:gd name="T23" fmla="*/ 29 h 29"/>
                <a:gd name="T24" fmla="*/ 7 w 28"/>
                <a:gd name="T25" fmla="*/ 28 h 29"/>
                <a:gd name="T26" fmla="*/ 10 w 28"/>
                <a:gd name="T27" fmla="*/ 27 h 29"/>
                <a:gd name="T28" fmla="*/ 11 w 28"/>
                <a:gd name="T29" fmla="*/ 24 h 29"/>
                <a:gd name="T30" fmla="*/ 11 w 28"/>
                <a:gd name="T31" fmla="*/ 2 h 29"/>
                <a:gd name="T32" fmla="*/ 8 w 28"/>
                <a:gd name="T33" fmla="*/ 2 h 29"/>
                <a:gd name="T34" fmla="*/ 3 w 28"/>
                <a:gd name="T35" fmla="*/ 3 h 29"/>
                <a:gd name="T36" fmla="*/ 1 w 28"/>
                <a:gd name="T37" fmla="*/ 7 h 29"/>
                <a:gd name="T38" fmla="*/ 0 w 28"/>
                <a:gd name="T39" fmla="*/ 7 h 29"/>
                <a:gd name="T40" fmla="*/ 0 w 28"/>
                <a:gd name="T4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29">
                  <a:moveTo>
                    <a:pt x="0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5"/>
                    <a:pt x="25" y="3"/>
                    <a:pt x="24" y="3"/>
                  </a:cubicBezTo>
                  <a:cubicBezTo>
                    <a:pt x="23" y="2"/>
                    <a:pt x="22" y="2"/>
                    <a:pt x="19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6"/>
                    <a:pt x="16" y="27"/>
                    <a:pt x="17" y="27"/>
                  </a:cubicBezTo>
                  <a:cubicBezTo>
                    <a:pt x="18" y="28"/>
                    <a:pt x="19" y="28"/>
                    <a:pt x="21" y="28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9" y="28"/>
                    <a:pt x="10" y="28"/>
                    <a:pt x="10" y="27"/>
                  </a:cubicBezTo>
                  <a:cubicBezTo>
                    <a:pt x="11" y="27"/>
                    <a:pt x="11" y="26"/>
                    <a:pt x="11" y="24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6" y="2"/>
                    <a:pt x="4" y="2"/>
                    <a:pt x="3" y="3"/>
                  </a:cubicBezTo>
                  <a:cubicBezTo>
                    <a:pt x="2" y="3"/>
                    <a:pt x="1" y="5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24" name="Freeform 12"/>
            <p:cNvSpPr>
              <a:spLocks/>
            </p:cNvSpPr>
            <p:nvPr/>
          </p:nvSpPr>
          <p:spPr bwMode="auto">
            <a:xfrm>
              <a:off x="2990" y="3327"/>
              <a:ext cx="199" cy="206"/>
            </a:xfrm>
            <a:custGeom>
              <a:avLst/>
              <a:gdLst>
                <a:gd name="T0" fmla="*/ 0 w 28"/>
                <a:gd name="T1" fmla="*/ 0 h 29"/>
                <a:gd name="T2" fmla="*/ 28 w 28"/>
                <a:gd name="T3" fmla="*/ 0 h 29"/>
                <a:gd name="T4" fmla="*/ 28 w 28"/>
                <a:gd name="T5" fmla="*/ 7 h 29"/>
                <a:gd name="T6" fmla="*/ 27 w 28"/>
                <a:gd name="T7" fmla="*/ 7 h 29"/>
                <a:gd name="T8" fmla="*/ 25 w 28"/>
                <a:gd name="T9" fmla="*/ 3 h 29"/>
                <a:gd name="T10" fmla="*/ 19 w 28"/>
                <a:gd name="T11" fmla="*/ 2 h 29"/>
                <a:gd name="T12" fmla="*/ 17 w 28"/>
                <a:gd name="T13" fmla="*/ 2 h 29"/>
                <a:gd name="T14" fmla="*/ 17 w 28"/>
                <a:gd name="T15" fmla="*/ 24 h 29"/>
                <a:gd name="T16" fmla="*/ 17 w 28"/>
                <a:gd name="T17" fmla="*/ 27 h 29"/>
                <a:gd name="T18" fmla="*/ 21 w 28"/>
                <a:gd name="T19" fmla="*/ 28 h 29"/>
                <a:gd name="T20" fmla="*/ 21 w 28"/>
                <a:gd name="T21" fmla="*/ 29 h 29"/>
                <a:gd name="T22" fmla="*/ 7 w 28"/>
                <a:gd name="T23" fmla="*/ 29 h 29"/>
                <a:gd name="T24" fmla="*/ 7 w 28"/>
                <a:gd name="T25" fmla="*/ 28 h 29"/>
                <a:gd name="T26" fmla="*/ 11 w 28"/>
                <a:gd name="T27" fmla="*/ 27 h 29"/>
                <a:gd name="T28" fmla="*/ 12 w 28"/>
                <a:gd name="T29" fmla="*/ 24 h 29"/>
                <a:gd name="T30" fmla="*/ 12 w 28"/>
                <a:gd name="T31" fmla="*/ 2 h 29"/>
                <a:gd name="T32" fmla="*/ 9 w 28"/>
                <a:gd name="T33" fmla="*/ 2 h 29"/>
                <a:gd name="T34" fmla="*/ 3 w 28"/>
                <a:gd name="T35" fmla="*/ 3 h 29"/>
                <a:gd name="T36" fmla="*/ 1 w 28"/>
                <a:gd name="T37" fmla="*/ 7 h 29"/>
                <a:gd name="T38" fmla="*/ 0 w 28"/>
                <a:gd name="T39" fmla="*/ 7 h 29"/>
                <a:gd name="T40" fmla="*/ 0 w 28"/>
                <a:gd name="T4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29">
                  <a:moveTo>
                    <a:pt x="0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6" y="5"/>
                    <a:pt x="26" y="3"/>
                    <a:pt x="25" y="3"/>
                  </a:cubicBezTo>
                  <a:cubicBezTo>
                    <a:pt x="24" y="2"/>
                    <a:pt x="22" y="2"/>
                    <a:pt x="19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6"/>
                    <a:pt x="17" y="27"/>
                    <a:pt x="17" y="27"/>
                  </a:cubicBezTo>
                  <a:cubicBezTo>
                    <a:pt x="18" y="28"/>
                    <a:pt x="19" y="28"/>
                    <a:pt x="21" y="28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9" y="28"/>
                    <a:pt x="10" y="28"/>
                    <a:pt x="11" y="27"/>
                  </a:cubicBezTo>
                  <a:cubicBezTo>
                    <a:pt x="11" y="27"/>
                    <a:pt x="12" y="26"/>
                    <a:pt x="12" y="2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6" y="2"/>
                    <a:pt x="4" y="2"/>
                    <a:pt x="3" y="3"/>
                  </a:cubicBezTo>
                  <a:cubicBezTo>
                    <a:pt x="2" y="3"/>
                    <a:pt x="2" y="5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25" name="Freeform 13"/>
            <p:cNvSpPr>
              <a:spLocks/>
            </p:cNvSpPr>
            <p:nvPr/>
          </p:nvSpPr>
          <p:spPr bwMode="auto">
            <a:xfrm>
              <a:off x="3217" y="3327"/>
              <a:ext cx="206" cy="206"/>
            </a:xfrm>
            <a:custGeom>
              <a:avLst/>
              <a:gdLst>
                <a:gd name="T0" fmla="*/ 0 w 29"/>
                <a:gd name="T1" fmla="*/ 28 h 29"/>
                <a:gd name="T2" fmla="*/ 4 w 29"/>
                <a:gd name="T3" fmla="*/ 27 h 29"/>
                <a:gd name="T4" fmla="*/ 4 w 29"/>
                <a:gd name="T5" fmla="*/ 24 h 29"/>
                <a:gd name="T6" fmla="*/ 4 w 29"/>
                <a:gd name="T7" fmla="*/ 4 h 29"/>
                <a:gd name="T8" fmla="*/ 4 w 29"/>
                <a:gd name="T9" fmla="*/ 1 h 29"/>
                <a:gd name="T10" fmla="*/ 0 w 29"/>
                <a:gd name="T11" fmla="*/ 1 h 29"/>
                <a:gd name="T12" fmla="*/ 0 w 29"/>
                <a:gd name="T13" fmla="*/ 0 h 29"/>
                <a:gd name="T14" fmla="*/ 26 w 29"/>
                <a:gd name="T15" fmla="*/ 0 h 29"/>
                <a:gd name="T16" fmla="*/ 26 w 29"/>
                <a:gd name="T17" fmla="*/ 6 h 29"/>
                <a:gd name="T18" fmla="*/ 25 w 29"/>
                <a:gd name="T19" fmla="*/ 6 h 29"/>
                <a:gd name="T20" fmla="*/ 23 w 29"/>
                <a:gd name="T21" fmla="*/ 2 h 29"/>
                <a:gd name="T22" fmla="*/ 18 w 29"/>
                <a:gd name="T23" fmla="*/ 1 h 29"/>
                <a:gd name="T24" fmla="*/ 11 w 29"/>
                <a:gd name="T25" fmla="*/ 1 h 29"/>
                <a:gd name="T26" fmla="*/ 10 w 29"/>
                <a:gd name="T27" fmla="*/ 2 h 29"/>
                <a:gd name="T28" fmla="*/ 9 w 29"/>
                <a:gd name="T29" fmla="*/ 3 h 29"/>
                <a:gd name="T30" fmla="*/ 9 w 29"/>
                <a:gd name="T31" fmla="*/ 13 h 29"/>
                <a:gd name="T32" fmla="*/ 17 w 29"/>
                <a:gd name="T33" fmla="*/ 13 h 29"/>
                <a:gd name="T34" fmla="*/ 21 w 29"/>
                <a:gd name="T35" fmla="*/ 12 h 29"/>
                <a:gd name="T36" fmla="*/ 22 w 29"/>
                <a:gd name="T37" fmla="*/ 9 h 29"/>
                <a:gd name="T38" fmla="*/ 23 w 29"/>
                <a:gd name="T39" fmla="*/ 9 h 29"/>
                <a:gd name="T40" fmla="*/ 23 w 29"/>
                <a:gd name="T41" fmla="*/ 19 h 29"/>
                <a:gd name="T42" fmla="*/ 22 w 29"/>
                <a:gd name="T43" fmla="*/ 19 h 29"/>
                <a:gd name="T44" fmla="*/ 21 w 29"/>
                <a:gd name="T45" fmla="*/ 15 h 29"/>
                <a:gd name="T46" fmla="*/ 17 w 29"/>
                <a:gd name="T47" fmla="*/ 15 h 29"/>
                <a:gd name="T48" fmla="*/ 9 w 29"/>
                <a:gd name="T49" fmla="*/ 15 h 29"/>
                <a:gd name="T50" fmla="*/ 9 w 29"/>
                <a:gd name="T51" fmla="*/ 25 h 29"/>
                <a:gd name="T52" fmla="*/ 10 w 29"/>
                <a:gd name="T53" fmla="*/ 27 h 29"/>
                <a:gd name="T54" fmla="*/ 16 w 29"/>
                <a:gd name="T55" fmla="*/ 27 h 29"/>
                <a:gd name="T56" fmla="*/ 23 w 29"/>
                <a:gd name="T57" fmla="*/ 26 h 29"/>
                <a:gd name="T58" fmla="*/ 27 w 29"/>
                <a:gd name="T59" fmla="*/ 22 h 29"/>
                <a:gd name="T60" fmla="*/ 29 w 29"/>
                <a:gd name="T61" fmla="*/ 22 h 29"/>
                <a:gd name="T62" fmla="*/ 26 w 29"/>
                <a:gd name="T63" fmla="*/ 29 h 29"/>
                <a:gd name="T64" fmla="*/ 0 w 29"/>
                <a:gd name="T65" fmla="*/ 29 h 29"/>
                <a:gd name="T66" fmla="*/ 0 w 29"/>
                <a:gd name="T67" fmla="*/ 2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" h="29">
                  <a:moveTo>
                    <a:pt x="0" y="28"/>
                  </a:moveTo>
                  <a:cubicBezTo>
                    <a:pt x="2" y="28"/>
                    <a:pt x="3" y="28"/>
                    <a:pt x="4" y="27"/>
                  </a:cubicBezTo>
                  <a:cubicBezTo>
                    <a:pt x="4" y="27"/>
                    <a:pt x="4" y="26"/>
                    <a:pt x="4" y="2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2"/>
                    <a:pt x="4" y="1"/>
                  </a:cubicBezTo>
                  <a:cubicBezTo>
                    <a:pt x="3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4"/>
                    <a:pt x="24" y="3"/>
                    <a:pt x="23" y="2"/>
                  </a:cubicBezTo>
                  <a:cubicBezTo>
                    <a:pt x="22" y="2"/>
                    <a:pt x="20" y="1"/>
                    <a:pt x="18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1"/>
                    <a:pt x="10" y="1"/>
                    <a:pt x="10" y="2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9" y="13"/>
                    <a:pt x="20" y="12"/>
                    <a:pt x="21" y="12"/>
                  </a:cubicBezTo>
                  <a:cubicBezTo>
                    <a:pt x="21" y="11"/>
                    <a:pt x="22" y="10"/>
                    <a:pt x="22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17"/>
                    <a:pt x="21" y="16"/>
                    <a:pt x="21" y="15"/>
                  </a:cubicBezTo>
                  <a:cubicBezTo>
                    <a:pt x="20" y="15"/>
                    <a:pt x="19" y="15"/>
                    <a:pt x="17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6"/>
                    <a:pt x="10" y="27"/>
                    <a:pt x="10" y="27"/>
                  </a:cubicBezTo>
                  <a:cubicBezTo>
                    <a:pt x="11" y="27"/>
                    <a:pt x="13" y="27"/>
                    <a:pt x="16" y="27"/>
                  </a:cubicBezTo>
                  <a:cubicBezTo>
                    <a:pt x="19" y="27"/>
                    <a:pt x="22" y="27"/>
                    <a:pt x="23" y="26"/>
                  </a:cubicBezTo>
                  <a:cubicBezTo>
                    <a:pt x="25" y="26"/>
                    <a:pt x="26" y="24"/>
                    <a:pt x="27" y="22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0" y="29"/>
                    <a:pt x="0" y="29"/>
                    <a:pt x="0" y="29"/>
                  </a:cubicBez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26" name="Freeform 14"/>
            <p:cNvSpPr>
              <a:spLocks noEditPoints="1"/>
            </p:cNvSpPr>
            <p:nvPr/>
          </p:nvSpPr>
          <p:spPr bwMode="auto">
            <a:xfrm>
              <a:off x="3445" y="3327"/>
              <a:ext cx="227" cy="206"/>
            </a:xfrm>
            <a:custGeom>
              <a:avLst/>
              <a:gdLst>
                <a:gd name="T0" fmla="*/ 0 w 32"/>
                <a:gd name="T1" fmla="*/ 28 h 29"/>
                <a:gd name="T2" fmla="*/ 3 w 32"/>
                <a:gd name="T3" fmla="*/ 27 h 29"/>
                <a:gd name="T4" fmla="*/ 4 w 32"/>
                <a:gd name="T5" fmla="*/ 24 h 29"/>
                <a:gd name="T6" fmla="*/ 4 w 32"/>
                <a:gd name="T7" fmla="*/ 4 h 29"/>
                <a:gd name="T8" fmla="*/ 3 w 32"/>
                <a:gd name="T9" fmla="*/ 1 h 29"/>
                <a:gd name="T10" fmla="*/ 0 w 32"/>
                <a:gd name="T11" fmla="*/ 1 h 29"/>
                <a:gd name="T12" fmla="*/ 0 w 32"/>
                <a:gd name="T13" fmla="*/ 0 h 29"/>
                <a:gd name="T14" fmla="*/ 13 w 32"/>
                <a:gd name="T15" fmla="*/ 0 h 29"/>
                <a:gd name="T16" fmla="*/ 24 w 32"/>
                <a:gd name="T17" fmla="*/ 2 h 29"/>
                <a:gd name="T18" fmla="*/ 32 w 32"/>
                <a:gd name="T19" fmla="*/ 14 h 29"/>
                <a:gd name="T20" fmla="*/ 31 w 32"/>
                <a:gd name="T21" fmla="*/ 21 h 29"/>
                <a:gd name="T22" fmla="*/ 27 w 32"/>
                <a:gd name="T23" fmla="*/ 26 h 29"/>
                <a:gd name="T24" fmla="*/ 23 w 32"/>
                <a:gd name="T25" fmla="*/ 28 h 29"/>
                <a:gd name="T26" fmla="*/ 13 w 32"/>
                <a:gd name="T27" fmla="*/ 29 h 29"/>
                <a:gd name="T28" fmla="*/ 0 w 32"/>
                <a:gd name="T29" fmla="*/ 29 h 29"/>
                <a:gd name="T30" fmla="*/ 0 w 32"/>
                <a:gd name="T31" fmla="*/ 28 h 29"/>
                <a:gd name="T32" fmla="*/ 10 w 32"/>
                <a:gd name="T33" fmla="*/ 27 h 29"/>
                <a:gd name="T34" fmla="*/ 12 w 32"/>
                <a:gd name="T35" fmla="*/ 27 h 29"/>
                <a:gd name="T36" fmla="*/ 21 w 32"/>
                <a:gd name="T37" fmla="*/ 25 h 29"/>
                <a:gd name="T38" fmla="*/ 27 w 32"/>
                <a:gd name="T39" fmla="*/ 14 h 29"/>
                <a:gd name="T40" fmla="*/ 22 w 32"/>
                <a:gd name="T41" fmla="*/ 4 h 29"/>
                <a:gd name="T42" fmla="*/ 12 w 32"/>
                <a:gd name="T43" fmla="*/ 1 h 29"/>
                <a:gd name="T44" fmla="*/ 10 w 32"/>
                <a:gd name="T45" fmla="*/ 2 h 29"/>
                <a:gd name="T46" fmla="*/ 9 w 32"/>
                <a:gd name="T47" fmla="*/ 3 h 29"/>
                <a:gd name="T48" fmla="*/ 9 w 32"/>
                <a:gd name="T49" fmla="*/ 26 h 29"/>
                <a:gd name="T50" fmla="*/ 10 w 32"/>
                <a:gd name="T51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2" h="29">
                  <a:moveTo>
                    <a:pt x="0" y="28"/>
                  </a:moveTo>
                  <a:cubicBezTo>
                    <a:pt x="2" y="28"/>
                    <a:pt x="3" y="28"/>
                    <a:pt x="3" y="27"/>
                  </a:cubicBezTo>
                  <a:cubicBezTo>
                    <a:pt x="4" y="27"/>
                    <a:pt x="4" y="26"/>
                    <a:pt x="4" y="2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2"/>
                    <a:pt x="3" y="1"/>
                  </a:cubicBezTo>
                  <a:cubicBezTo>
                    <a:pt x="3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7" y="0"/>
                    <a:pt x="21" y="0"/>
                    <a:pt x="24" y="2"/>
                  </a:cubicBezTo>
                  <a:cubicBezTo>
                    <a:pt x="30" y="4"/>
                    <a:pt x="32" y="8"/>
                    <a:pt x="32" y="14"/>
                  </a:cubicBezTo>
                  <a:cubicBezTo>
                    <a:pt x="32" y="17"/>
                    <a:pt x="32" y="19"/>
                    <a:pt x="31" y="21"/>
                  </a:cubicBezTo>
                  <a:cubicBezTo>
                    <a:pt x="30" y="23"/>
                    <a:pt x="29" y="24"/>
                    <a:pt x="27" y="26"/>
                  </a:cubicBezTo>
                  <a:cubicBezTo>
                    <a:pt x="25" y="27"/>
                    <a:pt x="24" y="27"/>
                    <a:pt x="23" y="28"/>
                  </a:cubicBezTo>
                  <a:cubicBezTo>
                    <a:pt x="20" y="29"/>
                    <a:pt x="17" y="29"/>
                    <a:pt x="13" y="29"/>
                  </a:cubicBezTo>
                  <a:cubicBezTo>
                    <a:pt x="0" y="29"/>
                    <a:pt x="0" y="29"/>
                    <a:pt x="0" y="29"/>
                  </a:cubicBezTo>
                  <a:lnTo>
                    <a:pt x="0" y="28"/>
                  </a:lnTo>
                  <a:close/>
                  <a:moveTo>
                    <a:pt x="10" y="27"/>
                  </a:moveTo>
                  <a:cubicBezTo>
                    <a:pt x="10" y="27"/>
                    <a:pt x="11" y="27"/>
                    <a:pt x="12" y="27"/>
                  </a:cubicBezTo>
                  <a:cubicBezTo>
                    <a:pt x="16" y="27"/>
                    <a:pt x="19" y="27"/>
                    <a:pt x="21" y="25"/>
                  </a:cubicBezTo>
                  <a:cubicBezTo>
                    <a:pt x="25" y="23"/>
                    <a:pt x="27" y="20"/>
                    <a:pt x="27" y="14"/>
                  </a:cubicBezTo>
                  <a:cubicBezTo>
                    <a:pt x="27" y="10"/>
                    <a:pt x="26" y="7"/>
                    <a:pt x="22" y="4"/>
                  </a:cubicBezTo>
                  <a:cubicBezTo>
                    <a:pt x="20" y="2"/>
                    <a:pt x="16" y="1"/>
                    <a:pt x="12" y="1"/>
                  </a:cubicBezTo>
                  <a:cubicBezTo>
                    <a:pt x="11" y="1"/>
                    <a:pt x="10" y="1"/>
                    <a:pt x="10" y="2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9" y="27"/>
                    <a:pt x="10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27" name="Freeform 15"/>
            <p:cNvSpPr>
              <a:spLocks/>
            </p:cNvSpPr>
            <p:nvPr/>
          </p:nvSpPr>
          <p:spPr bwMode="auto">
            <a:xfrm>
              <a:off x="3807" y="3327"/>
              <a:ext cx="199" cy="206"/>
            </a:xfrm>
            <a:custGeom>
              <a:avLst/>
              <a:gdLst>
                <a:gd name="T0" fmla="*/ 0 w 28"/>
                <a:gd name="T1" fmla="*/ 0 h 29"/>
                <a:gd name="T2" fmla="*/ 27 w 28"/>
                <a:gd name="T3" fmla="*/ 0 h 29"/>
                <a:gd name="T4" fmla="*/ 28 w 28"/>
                <a:gd name="T5" fmla="*/ 7 h 29"/>
                <a:gd name="T6" fmla="*/ 27 w 28"/>
                <a:gd name="T7" fmla="*/ 7 h 29"/>
                <a:gd name="T8" fmla="*/ 24 w 28"/>
                <a:gd name="T9" fmla="*/ 3 h 29"/>
                <a:gd name="T10" fmla="*/ 19 w 28"/>
                <a:gd name="T11" fmla="*/ 2 h 29"/>
                <a:gd name="T12" fmla="*/ 16 w 28"/>
                <a:gd name="T13" fmla="*/ 2 h 29"/>
                <a:gd name="T14" fmla="*/ 16 w 28"/>
                <a:gd name="T15" fmla="*/ 24 h 29"/>
                <a:gd name="T16" fmla="*/ 17 w 28"/>
                <a:gd name="T17" fmla="*/ 27 h 29"/>
                <a:gd name="T18" fmla="*/ 21 w 28"/>
                <a:gd name="T19" fmla="*/ 28 h 29"/>
                <a:gd name="T20" fmla="*/ 21 w 28"/>
                <a:gd name="T21" fmla="*/ 29 h 29"/>
                <a:gd name="T22" fmla="*/ 7 w 28"/>
                <a:gd name="T23" fmla="*/ 29 h 29"/>
                <a:gd name="T24" fmla="*/ 7 w 28"/>
                <a:gd name="T25" fmla="*/ 28 h 29"/>
                <a:gd name="T26" fmla="*/ 11 w 28"/>
                <a:gd name="T27" fmla="*/ 27 h 29"/>
                <a:gd name="T28" fmla="*/ 11 w 28"/>
                <a:gd name="T29" fmla="*/ 24 h 29"/>
                <a:gd name="T30" fmla="*/ 11 w 28"/>
                <a:gd name="T31" fmla="*/ 2 h 29"/>
                <a:gd name="T32" fmla="*/ 9 w 28"/>
                <a:gd name="T33" fmla="*/ 2 h 29"/>
                <a:gd name="T34" fmla="*/ 3 w 28"/>
                <a:gd name="T35" fmla="*/ 3 h 29"/>
                <a:gd name="T36" fmla="*/ 1 w 28"/>
                <a:gd name="T37" fmla="*/ 7 h 29"/>
                <a:gd name="T38" fmla="*/ 0 w 28"/>
                <a:gd name="T39" fmla="*/ 7 h 29"/>
                <a:gd name="T40" fmla="*/ 0 w 28"/>
                <a:gd name="T4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29">
                  <a:moveTo>
                    <a:pt x="0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6" y="5"/>
                    <a:pt x="25" y="3"/>
                    <a:pt x="24" y="3"/>
                  </a:cubicBezTo>
                  <a:cubicBezTo>
                    <a:pt x="24" y="2"/>
                    <a:pt x="22" y="2"/>
                    <a:pt x="19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6"/>
                    <a:pt x="16" y="27"/>
                    <a:pt x="17" y="27"/>
                  </a:cubicBezTo>
                  <a:cubicBezTo>
                    <a:pt x="18" y="28"/>
                    <a:pt x="19" y="28"/>
                    <a:pt x="21" y="28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9" y="28"/>
                    <a:pt x="10" y="28"/>
                    <a:pt x="11" y="27"/>
                  </a:cubicBezTo>
                  <a:cubicBezTo>
                    <a:pt x="11" y="27"/>
                    <a:pt x="11" y="26"/>
                    <a:pt x="11" y="24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6" y="2"/>
                    <a:pt x="4" y="2"/>
                    <a:pt x="3" y="3"/>
                  </a:cubicBezTo>
                  <a:cubicBezTo>
                    <a:pt x="2" y="3"/>
                    <a:pt x="1" y="5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28" name="Freeform 16"/>
            <p:cNvSpPr>
              <a:spLocks noEditPoints="1"/>
            </p:cNvSpPr>
            <p:nvPr/>
          </p:nvSpPr>
          <p:spPr bwMode="auto">
            <a:xfrm>
              <a:off x="4020" y="3320"/>
              <a:ext cx="227" cy="220"/>
            </a:xfrm>
            <a:custGeom>
              <a:avLst/>
              <a:gdLst>
                <a:gd name="T0" fmla="*/ 5 w 32"/>
                <a:gd name="T1" fmla="*/ 4 h 31"/>
                <a:gd name="T2" fmla="*/ 16 w 32"/>
                <a:gd name="T3" fmla="*/ 0 h 31"/>
                <a:gd name="T4" fmla="*/ 28 w 32"/>
                <a:gd name="T5" fmla="*/ 4 h 31"/>
                <a:gd name="T6" fmla="*/ 32 w 32"/>
                <a:gd name="T7" fmla="*/ 15 h 31"/>
                <a:gd name="T8" fmla="*/ 27 w 32"/>
                <a:gd name="T9" fmla="*/ 27 h 31"/>
                <a:gd name="T10" fmla="*/ 16 w 32"/>
                <a:gd name="T11" fmla="*/ 31 h 31"/>
                <a:gd name="T12" fmla="*/ 5 w 32"/>
                <a:gd name="T13" fmla="*/ 26 h 31"/>
                <a:gd name="T14" fmla="*/ 0 w 32"/>
                <a:gd name="T15" fmla="*/ 15 h 31"/>
                <a:gd name="T16" fmla="*/ 5 w 32"/>
                <a:gd name="T17" fmla="*/ 4 h 31"/>
                <a:gd name="T18" fmla="*/ 9 w 32"/>
                <a:gd name="T19" fmla="*/ 26 h 31"/>
                <a:gd name="T20" fmla="*/ 16 w 32"/>
                <a:gd name="T21" fmla="*/ 29 h 31"/>
                <a:gd name="T22" fmla="*/ 24 w 32"/>
                <a:gd name="T23" fmla="*/ 26 h 31"/>
                <a:gd name="T24" fmla="*/ 27 w 32"/>
                <a:gd name="T25" fmla="*/ 15 h 31"/>
                <a:gd name="T26" fmla="*/ 24 w 32"/>
                <a:gd name="T27" fmla="*/ 5 h 31"/>
                <a:gd name="T28" fmla="*/ 16 w 32"/>
                <a:gd name="T29" fmla="*/ 2 h 31"/>
                <a:gd name="T30" fmla="*/ 9 w 32"/>
                <a:gd name="T31" fmla="*/ 5 h 31"/>
                <a:gd name="T32" fmla="*/ 6 w 32"/>
                <a:gd name="T33" fmla="*/ 15 h 31"/>
                <a:gd name="T34" fmla="*/ 9 w 32"/>
                <a:gd name="T35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1">
                  <a:moveTo>
                    <a:pt x="5" y="4"/>
                  </a:moveTo>
                  <a:cubicBezTo>
                    <a:pt x="8" y="1"/>
                    <a:pt x="12" y="0"/>
                    <a:pt x="16" y="0"/>
                  </a:cubicBezTo>
                  <a:cubicBezTo>
                    <a:pt x="21" y="0"/>
                    <a:pt x="25" y="1"/>
                    <a:pt x="28" y="4"/>
                  </a:cubicBezTo>
                  <a:cubicBezTo>
                    <a:pt x="31" y="7"/>
                    <a:pt x="32" y="11"/>
                    <a:pt x="32" y="15"/>
                  </a:cubicBezTo>
                  <a:cubicBezTo>
                    <a:pt x="32" y="20"/>
                    <a:pt x="31" y="24"/>
                    <a:pt x="27" y="27"/>
                  </a:cubicBezTo>
                  <a:cubicBezTo>
                    <a:pt x="24" y="29"/>
                    <a:pt x="21" y="31"/>
                    <a:pt x="16" y="31"/>
                  </a:cubicBezTo>
                  <a:cubicBezTo>
                    <a:pt x="12" y="31"/>
                    <a:pt x="8" y="29"/>
                    <a:pt x="5" y="26"/>
                  </a:cubicBezTo>
                  <a:cubicBezTo>
                    <a:pt x="2" y="24"/>
                    <a:pt x="0" y="20"/>
                    <a:pt x="0" y="15"/>
                  </a:cubicBezTo>
                  <a:cubicBezTo>
                    <a:pt x="0" y="11"/>
                    <a:pt x="2" y="7"/>
                    <a:pt x="5" y="4"/>
                  </a:cubicBezTo>
                  <a:close/>
                  <a:moveTo>
                    <a:pt x="9" y="26"/>
                  </a:moveTo>
                  <a:cubicBezTo>
                    <a:pt x="11" y="28"/>
                    <a:pt x="13" y="29"/>
                    <a:pt x="16" y="29"/>
                  </a:cubicBezTo>
                  <a:cubicBezTo>
                    <a:pt x="19" y="29"/>
                    <a:pt x="22" y="28"/>
                    <a:pt x="24" y="26"/>
                  </a:cubicBezTo>
                  <a:cubicBezTo>
                    <a:pt x="26" y="24"/>
                    <a:pt x="27" y="20"/>
                    <a:pt x="27" y="15"/>
                  </a:cubicBezTo>
                  <a:cubicBezTo>
                    <a:pt x="27" y="11"/>
                    <a:pt x="26" y="7"/>
                    <a:pt x="24" y="5"/>
                  </a:cubicBezTo>
                  <a:cubicBezTo>
                    <a:pt x="22" y="3"/>
                    <a:pt x="19" y="2"/>
                    <a:pt x="16" y="2"/>
                  </a:cubicBezTo>
                  <a:cubicBezTo>
                    <a:pt x="14" y="2"/>
                    <a:pt x="11" y="3"/>
                    <a:pt x="9" y="5"/>
                  </a:cubicBezTo>
                  <a:cubicBezTo>
                    <a:pt x="7" y="7"/>
                    <a:pt x="6" y="11"/>
                    <a:pt x="6" y="15"/>
                  </a:cubicBezTo>
                  <a:cubicBezTo>
                    <a:pt x="6" y="20"/>
                    <a:pt x="7" y="23"/>
                    <a:pt x="9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29" name="Freeform 17"/>
            <p:cNvSpPr>
              <a:spLocks/>
            </p:cNvSpPr>
            <p:nvPr/>
          </p:nvSpPr>
          <p:spPr bwMode="auto">
            <a:xfrm>
              <a:off x="888" y="3654"/>
              <a:ext cx="99" cy="212"/>
            </a:xfrm>
            <a:custGeom>
              <a:avLst/>
              <a:gdLst>
                <a:gd name="T0" fmla="*/ 0 w 14"/>
                <a:gd name="T1" fmla="*/ 29 h 30"/>
                <a:gd name="T2" fmla="*/ 4 w 14"/>
                <a:gd name="T3" fmla="*/ 28 h 30"/>
                <a:gd name="T4" fmla="*/ 5 w 14"/>
                <a:gd name="T5" fmla="*/ 25 h 30"/>
                <a:gd name="T6" fmla="*/ 5 w 14"/>
                <a:gd name="T7" fmla="*/ 5 h 30"/>
                <a:gd name="T8" fmla="*/ 4 w 14"/>
                <a:gd name="T9" fmla="*/ 2 h 30"/>
                <a:gd name="T10" fmla="*/ 0 w 14"/>
                <a:gd name="T11" fmla="*/ 1 h 30"/>
                <a:gd name="T12" fmla="*/ 0 w 14"/>
                <a:gd name="T13" fmla="*/ 0 h 30"/>
                <a:gd name="T14" fmla="*/ 14 w 14"/>
                <a:gd name="T15" fmla="*/ 0 h 30"/>
                <a:gd name="T16" fmla="*/ 14 w 14"/>
                <a:gd name="T17" fmla="*/ 1 h 30"/>
                <a:gd name="T18" fmla="*/ 11 w 14"/>
                <a:gd name="T19" fmla="*/ 2 h 30"/>
                <a:gd name="T20" fmla="*/ 10 w 14"/>
                <a:gd name="T21" fmla="*/ 5 h 30"/>
                <a:gd name="T22" fmla="*/ 10 w 14"/>
                <a:gd name="T23" fmla="*/ 25 h 30"/>
                <a:gd name="T24" fmla="*/ 11 w 14"/>
                <a:gd name="T25" fmla="*/ 28 h 30"/>
                <a:gd name="T26" fmla="*/ 14 w 14"/>
                <a:gd name="T27" fmla="*/ 29 h 30"/>
                <a:gd name="T28" fmla="*/ 14 w 14"/>
                <a:gd name="T29" fmla="*/ 30 h 30"/>
                <a:gd name="T30" fmla="*/ 0 w 14"/>
                <a:gd name="T31" fmla="*/ 30 h 30"/>
                <a:gd name="T32" fmla="*/ 0 w 14"/>
                <a:gd name="T33" fmla="*/ 2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" h="30">
                  <a:moveTo>
                    <a:pt x="0" y="29"/>
                  </a:moveTo>
                  <a:cubicBezTo>
                    <a:pt x="2" y="29"/>
                    <a:pt x="3" y="28"/>
                    <a:pt x="4" y="28"/>
                  </a:cubicBezTo>
                  <a:cubicBezTo>
                    <a:pt x="4" y="28"/>
                    <a:pt x="5" y="27"/>
                    <a:pt x="5" y="2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4" y="2"/>
                    <a:pt x="4" y="2"/>
                  </a:cubicBezTo>
                  <a:cubicBezTo>
                    <a:pt x="3" y="2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1" y="2"/>
                    <a:pt x="11" y="2"/>
                  </a:cubicBezTo>
                  <a:cubicBezTo>
                    <a:pt x="10" y="2"/>
                    <a:pt x="10" y="4"/>
                    <a:pt x="10" y="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7"/>
                    <a:pt x="10" y="28"/>
                    <a:pt x="11" y="28"/>
                  </a:cubicBezTo>
                  <a:cubicBezTo>
                    <a:pt x="11" y="28"/>
                    <a:pt x="12" y="29"/>
                    <a:pt x="14" y="29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0" y="30"/>
                    <a:pt x="0" y="30"/>
                    <a:pt x="0" y="30"/>
                  </a:cubicBezTo>
                  <a:lnTo>
                    <a:pt x="0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30" name="Freeform 18"/>
            <p:cNvSpPr>
              <a:spLocks/>
            </p:cNvSpPr>
            <p:nvPr/>
          </p:nvSpPr>
          <p:spPr bwMode="auto">
            <a:xfrm>
              <a:off x="1016" y="3654"/>
              <a:ext cx="291" cy="212"/>
            </a:xfrm>
            <a:custGeom>
              <a:avLst/>
              <a:gdLst>
                <a:gd name="T0" fmla="*/ 0 w 41"/>
                <a:gd name="T1" fmla="*/ 29 h 30"/>
                <a:gd name="T2" fmla="*/ 3 w 41"/>
                <a:gd name="T3" fmla="*/ 28 h 30"/>
                <a:gd name="T4" fmla="*/ 4 w 41"/>
                <a:gd name="T5" fmla="*/ 23 h 30"/>
                <a:gd name="T6" fmla="*/ 4 w 41"/>
                <a:gd name="T7" fmla="*/ 5 h 30"/>
                <a:gd name="T8" fmla="*/ 3 w 41"/>
                <a:gd name="T9" fmla="*/ 2 h 30"/>
                <a:gd name="T10" fmla="*/ 0 w 41"/>
                <a:gd name="T11" fmla="*/ 1 h 30"/>
                <a:gd name="T12" fmla="*/ 0 w 41"/>
                <a:gd name="T13" fmla="*/ 0 h 30"/>
                <a:gd name="T14" fmla="*/ 9 w 41"/>
                <a:gd name="T15" fmla="*/ 0 h 30"/>
                <a:gd name="T16" fmla="*/ 21 w 41"/>
                <a:gd name="T17" fmla="*/ 22 h 30"/>
                <a:gd name="T18" fmla="*/ 31 w 41"/>
                <a:gd name="T19" fmla="*/ 0 h 30"/>
                <a:gd name="T20" fmla="*/ 41 w 41"/>
                <a:gd name="T21" fmla="*/ 0 h 30"/>
                <a:gd name="T22" fmla="*/ 41 w 41"/>
                <a:gd name="T23" fmla="*/ 1 h 30"/>
                <a:gd name="T24" fmla="*/ 38 w 41"/>
                <a:gd name="T25" fmla="*/ 2 h 30"/>
                <a:gd name="T26" fmla="*/ 37 w 41"/>
                <a:gd name="T27" fmla="*/ 5 h 30"/>
                <a:gd name="T28" fmla="*/ 37 w 41"/>
                <a:gd name="T29" fmla="*/ 25 h 30"/>
                <a:gd name="T30" fmla="*/ 38 w 41"/>
                <a:gd name="T31" fmla="*/ 28 h 30"/>
                <a:gd name="T32" fmla="*/ 41 w 41"/>
                <a:gd name="T33" fmla="*/ 29 h 30"/>
                <a:gd name="T34" fmla="*/ 41 w 41"/>
                <a:gd name="T35" fmla="*/ 30 h 30"/>
                <a:gd name="T36" fmla="*/ 27 w 41"/>
                <a:gd name="T37" fmla="*/ 30 h 30"/>
                <a:gd name="T38" fmla="*/ 27 w 41"/>
                <a:gd name="T39" fmla="*/ 29 h 30"/>
                <a:gd name="T40" fmla="*/ 31 w 41"/>
                <a:gd name="T41" fmla="*/ 28 h 30"/>
                <a:gd name="T42" fmla="*/ 32 w 41"/>
                <a:gd name="T43" fmla="*/ 24 h 30"/>
                <a:gd name="T44" fmla="*/ 32 w 41"/>
                <a:gd name="T45" fmla="*/ 4 h 30"/>
                <a:gd name="T46" fmla="*/ 19 w 41"/>
                <a:gd name="T47" fmla="*/ 30 h 30"/>
                <a:gd name="T48" fmla="*/ 19 w 41"/>
                <a:gd name="T49" fmla="*/ 30 h 30"/>
                <a:gd name="T50" fmla="*/ 6 w 41"/>
                <a:gd name="T51" fmla="*/ 5 h 30"/>
                <a:gd name="T52" fmla="*/ 6 w 41"/>
                <a:gd name="T53" fmla="*/ 23 h 30"/>
                <a:gd name="T54" fmla="*/ 8 w 41"/>
                <a:gd name="T55" fmla="*/ 28 h 30"/>
                <a:gd name="T56" fmla="*/ 11 w 41"/>
                <a:gd name="T57" fmla="*/ 29 h 30"/>
                <a:gd name="T58" fmla="*/ 11 w 41"/>
                <a:gd name="T59" fmla="*/ 30 h 30"/>
                <a:gd name="T60" fmla="*/ 0 w 41"/>
                <a:gd name="T61" fmla="*/ 30 h 30"/>
                <a:gd name="T62" fmla="*/ 0 w 41"/>
                <a:gd name="T63" fmla="*/ 2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30">
                  <a:moveTo>
                    <a:pt x="0" y="29"/>
                  </a:moveTo>
                  <a:cubicBezTo>
                    <a:pt x="2" y="29"/>
                    <a:pt x="3" y="28"/>
                    <a:pt x="3" y="28"/>
                  </a:cubicBezTo>
                  <a:cubicBezTo>
                    <a:pt x="4" y="27"/>
                    <a:pt x="4" y="25"/>
                    <a:pt x="4" y="23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4" y="3"/>
                    <a:pt x="3" y="2"/>
                  </a:cubicBezTo>
                  <a:cubicBezTo>
                    <a:pt x="3" y="2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39" y="1"/>
                    <a:pt x="38" y="2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6"/>
                    <a:pt x="37" y="27"/>
                    <a:pt x="38" y="28"/>
                  </a:cubicBezTo>
                  <a:cubicBezTo>
                    <a:pt x="38" y="28"/>
                    <a:pt x="39" y="29"/>
                    <a:pt x="41" y="29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9" y="29"/>
                    <a:pt x="31" y="28"/>
                    <a:pt x="31" y="28"/>
                  </a:cubicBezTo>
                  <a:cubicBezTo>
                    <a:pt x="32" y="27"/>
                    <a:pt x="32" y="26"/>
                    <a:pt x="32" y="2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6"/>
                    <a:pt x="7" y="27"/>
                    <a:pt x="8" y="28"/>
                  </a:cubicBezTo>
                  <a:cubicBezTo>
                    <a:pt x="8" y="28"/>
                    <a:pt x="9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0" y="30"/>
                    <a:pt x="0" y="30"/>
                    <a:pt x="0" y="30"/>
                  </a:cubicBezTo>
                  <a:lnTo>
                    <a:pt x="0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31" name="Freeform 19"/>
            <p:cNvSpPr>
              <a:spLocks noEditPoints="1"/>
            </p:cNvSpPr>
            <p:nvPr/>
          </p:nvSpPr>
          <p:spPr bwMode="auto">
            <a:xfrm>
              <a:off x="1350" y="3654"/>
              <a:ext cx="184" cy="212"/>
            </a:xfrm>
            <a:custGeom>
              <a:avLst/>
              <a:gdLst>
                <a:gd name="T0" fmla="*/ 0 w 26"/>
                <a:gd name="T1" fmla="*/ 29 h 30"/>
                <a:gd name="T2" fmla="*/ 4 w 26"/>
                <a:gd name="T3" fmla="*/ 28 h 30"/>
                <a:gd name="T4" fmla="*/ 4 w 26"/>
                <a:gd name="T5" fmla="*/ 24 h 30"/>
                <a:gd name="T6" fmla="*/ 4 w 26"/>
                <a:gd name="T7" fmla="*/ 5 h 30"/>
                <a:gd name="T8" fmla="*/ 4 w 26"/>
                <a:gd name="T9" fmla="*/ 2 h 30"/>
                <a:gd name="T10" fmla="*/ 0 w 26"/>
                <a:gd name="T11" fmla="*/ 1 h 30"/>
                <a:gd name="T12" fmla="*/ 0 w 26"/>
                <a:gd name="T13" fmla="*/ 0 h 30"/>
                <a:gd name="T14" fmla="*/ 13 w 26"/>
                <a:gd name="T15" fmla="*/ 0 h 30"/>
                <a:gd name="T16" fmla="*/ 23 w 26"/>
                <a:gd name="T17" fmla="*/ 3 h 30"/>
                <a:gd name="T18" fmla="*/ 26 w 26"/>
                <a:gd name="T19" fmla="*/ 8 h 30"/>
                <a:gd name="T20" fmla="*/ 22 w 26"/>
                <a:gd name="T21" fmla="*/ 15 h 30"/>
                <a:gd name="T22" fmla="*/ 13 w 26"/>
                <a:gd name="T23" fmla="*/ 17 h 30"/>
                <a:gd name="T24" fmla="*/ 11 w 26"/>
                <a:gd name="T25" fmla="*/ 17 h 30"/>
                <a:gd name="T26" fmla="*/ 9 w 26"/>
                <a:gd name="T27" fmla="*/ 17 h 30"/>
                <a:gd name="T28" fmla="*/ 9 w 26"/>
                <a:gd name="T29" fmla="*/ 25 h 30"/>
                <a:gd name="T30" fmla="*/ 10 w 26"/>
                <a:gd name="T31" fmla="*/ 28 h 30"/>
                <a:gd name="T32" fmla="*/ 14 w 26"/>
                <a:gd name="T33" fmla="*/ 29 h 30"/>
                <a:gd name="T34" fmla="*/ 14 w 26"/>
                <a:gd name="T35" fmla="*/ 30 h 30"/>
                <a:gd name="T36" fmla="*/ 0 w 26"/>
                <a:gd name="T37" fmla="*/ 30 h 30"/>
                <a:gd name="T38" fmla="*/ 0 w 26"/>
                <a:gd name="T39" fmla="*/ 29 h 30"/>
                <a:gd name="T40" fmla="*/ 17 w 26"/>
                <a:gd name="T41" fmla="*/ 3 h 30"/>
                <a:gd name="T42" fmla="*/ 11 w 26"/>
                <a:gd name="T43" fmla="*/ 2 h 30"/>
                <a:gd name="T44" fmla="*/ 10 w 26"/>
                <a:gd name="T45" fmla="*/ 2 h 30"/>
                <a:gd name="T46" fmla="*/ 9 w 26"/>
                <a:gd name="T47" fmla="*/ 3 h 30"/>
                <a:gd name="T48" fmla="*/ 9 w 26"/>
                <a:gd name="T49" fmla="*/ 15 h 30"/>
                <a:gd name="T50" fmla="*/ 11 w 26"/>
                <a:gd name="T51" fmla="*/ 15 h 30"/>
                <a:gd name="T52" fmla="*/ 12 w 26"/>
                <a:gd name="T53" fmla="*/ 15 h 30"/>
                <a:gd name="T54" fmla="*/ 17 w 26"/>
                <a:gd name="T55" fmla="*/ 14 h 30"/>
                <a:gd name="T56" fmla="*/ 21 w 26"/>
                <a:gd name="T57" fmla="*/ 8 h 30"/>
                <a:gd name="T58" fmla="*/ 17 w 26"/>
                <a:gd name="T59" fmla="*/ 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6" h="30">
                  <a:moveTo>
                    <a:pt x="0" y="29"/>
                  </a:moveTo>
                  <a:cubicBezTo>
                    <a:pt x="2" y="29"/>
                    <a:pt x="3" y="28"/>
                    <a:pt x="4" y="28"/>
                  </a:cubicBezTo>
                  <a:cubicBezTo>
                    <a:pt x="4" y="27"/>
                    <a:pt x="4" y="26"/>
                    <a:pt x="4" y="2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4" y="3"/>
                    <a:pt x="4" y="2"/>
                  </a:cubicBezTo>
                  <a:cubicBezTo>
                    <a:pt x="3" y="2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7" y="0"/>
                    <a:pt x="20" y="1"/>
                    <a:pt x="23" y="3"/>
                  </a:cubicBezTo>
                  <a:cubicBezTo>
                    <a:pt x="25" y="4"/>
                    <a:pt x="26" y="6"/>
                    <a:pt x="26" y="8"/>
                  </a:cubicBezTo>
                  <a:cubicBezTo>
                    <a:pt x="26" y="11"/>
                    <a:pt x="25" y="13"/>
                    <a:pt x="22" y="15"/>
                  </a:cubicBezTo>
                  <a:cubicBezTo>
                    <a:pt x="20" y="16"/>
                    <a:pt x="17" y="17"/>
                    <a:pt x="13" y="17"/>
                  </a:cubicBezTo>
                  <a:cubicBezTo>
                    <a:pt x="13" y="17"/>
                    <a:pt x="12" y="17"/>
                    <a:pt x="11" y="17"/>
                  </a:cubicBezTo>
                  <a:cubicBezTo>
                    <a:pt x="10" y="17"/>
                    <a:pt x="10" y="17"/>
                    <a:pt x="9" y="17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7"/>
                    <a:pt x="10" y="28"/>
                    <a:pt x="10" y="28"/>
                  </a:cubicBezTo>
                  <a:cubicBezTo>
                    <a:pt x="11" y="28"/>
                    <a:pt x="12" y="29"/>
                    <a:pt x="14" y="29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0" y="30"/>
                    <a:pt x="0" y="30"/>
                    <a:pt x="0" y="30"/>
                  </a:cubicBezTo>
                  <a:lnTo>
                    <a:pt x="0" y="29"/>
                  </a:lnTo>
                  <a:close/>
                  <a:moveTo>
                    <a:pt x="17" y="3"/>
                  </a:moveTo>
                  <a:cubicBezTo>
                    <a:pt x="15" y="2"/>
                    <a:pt x="14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9" y="3"/>
                    <a:pt x="9" y="3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0" y="15"/>
                    <a:pt x="11" y="15"/>
                    <a:pt x="11" y="15"/>
                  </a:cubicBezTo>
                  <a:cubicBezTo>
                    <a:pt x="11" y="15"/>
                    <a:pt x="12" y="15"/>
                    <a:pt x="12" y="15"/>
                  </a:cubicBezTo>
                  <a:cubicBezTo>
                    <a:pt x="14" y="15"/>
                    <a:pt x="16" y="15"/>
                    <a:pt x="17" y="14"/>
                  </a:cubicBezTo>
                  <a:cubicBezTo>
                    <a:pt x="19" y="13"/>
                    <a:pt x="21" y="11"/>
                    <a:pt x="21" y="8"/>
                  </a:cubicBezTo>
                  <a:cubicBezTo>
                    <a:pt x="21" y="6"/>
                    <a:pt x="19" y="4"/>
                    <a:pt x="1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32" name="Freeform 20"/>
            <p:cNvSpPr>
              <a:spLocks noEditPoints="1"/>
            </p:cNvSpPr>
            <p:nvPr/>
          </p:nvSpPr>
          <p:spPr bwMode="auto">
            <a:xfrm>
              <a:off x="1556" y="3654"/>
              <a:ext cx="227" cy="212"/>
            </a:xfrm>
            <a:custGeom>
              <a:avLst/>
              <a:gdLst>
                <a:gd name="T0" fmla="*/ 0 w 32"/>
                <a:gd name="T1" fmla="*/ 29 h 30"/>
                <a:gd name="T2" fmla="*/ 4 w 32"/>
                <a:gd name="T3" fmla="*/ 28 h 30"/>
                <a:gd name="T4" fmla="*/ 4 w 32"/>
                <a:gd name="T5" fmla="*/ 24 h 30"/>
                <a:gd name="T6" fmla="*/ 4 w 32"/>
                <a:gd name="T7" fmla="*/ 5 h 30"/>
                <a:gd name="T8" fmla="*/ 4 w 32"/>
                <a:gd name="T9" fmla="*/ 2 h 30"/>
                <a:gd name="T10" fmla="*/ 0 w 32"/>
                <a:gd name="T11" fmla="*/ 1 h 30"/>
                <a:gd name="T12" fmla="*/ 0 w 32"/>
                <a:gd name="T13" fmla="*/ 0 h 30"/>
                <a:gd name="T14" fmla="*/ 14 w 32"/>
                <a:gd name="T15" fmla="*/ 0 h 30"/>
                <a:gd name="T16" fmla="*/ 21 w 32"/>
                <a:gd name="T17" fmla="*/ 1 h 30"/>
                <a:gd name="T18" fmla="*/ 26 w 32"/>
                <a:gd name="T19" fmla="*/ 8 h 30"/>
                <a:gd name="T20" fmla="*/ 24 w 32"/>
                <a:gd name="T21" fmla="*/ 13 h 30"/>
                <a:gd name="T22" fmla="*/ 17 w 32"/>
                <a:gd name="T23" fmla="*/ 15 h 30"/>
                <a:gd name="T24" fmla="*/ 27 w 32"/>
                <a:gd name="T25" fmla="*/ 27 h 30"/>
                <a:gd name="T26" fmla="*/ 29 w 32"/>
                <a:gd name="T27" fmla="*/ 28 h 30"/>
                <a:gd name="T28" fmla="*/ 32 w 32"/>
                <a:gd name="T29" fmla="*/ 29 h 30"/>
                <a:gd name="T30" fmla="*/ 32 w 32"/>
                <a:gd name="T31" fmla="*/ 30 h 30"/>
                <a:gd name="T32" fmla="*/ 24 w 32"/>
                <a:gd name="T33" fmla="*/ 30 h 30"/>
                <a:gd name="T34" fmla="*/ 12 w 32"/>
                <a:gd name="T35" fmla="*/ 16 h 30"/>
                <a:gd name="T36" fmla="*/ 9 w 32"/>
                <a:gd name="T37" fmla="*/ 16 h 30"/>
                <a:gd name="T38" fmla="*/ 9 w 32"/>
                <a:gd name="T39" fmla="*/ 25 h 30"/>
                <a:gd name="T40" fmla="*/ 10 w 32"/>
                <a:gd name="T41" fmla="*/ 28 h 30"/>
                <a:gd name="T42" fmla="*/ 14 w 32"/>
                <a:gd name="T43" fmla="*/ 29 h 30"/>
                <a:gd name="T44" fmla="*/ 14 w 32"/>
                <a:gd name="T45" fmla="*/ 30 h 30"/>
                <a:gd name="T46" fmla="*/ 0 w 32"/>
                <a:gd name="T47" fmla="*/ 30 h 30"/>
                <a:gd name="T48" fmla="*/ 0 w 32"/>
                <a:gd name="T49" fmla="*/ 29 h 30"/>
                <a:gd name="T50" fmla="*/ 17 w 32"/>
                <a:gd name="T51" fmla="*/ 13 h 30"/>
                <a:gd name="T52" fmla="*/ 21 w 32"/>
                <a:gd name="T53" fmla="*/ 8 h 30"/>
                <a:gd name="T54" fmla="*/ 17 w 32"/>
                <a:gd name="T55" fmla="*/ 3 h 30"/>
                <a:gd name="T56" fmla="*/ 12 w 32"/>
                <a:gd name="T57" fmla="*/ 2 h 30"/>
                <a:gd name="T58" fmla="*/ 10 w 32"/>
                <a:gd name="T59" fmla="*/ 2 h 30"/>
                <a:gd name="T60" fmla="*/ 9 w 32"/>
                <a:gd name="T61" fmla="*/ 4 h 30"/>
                <a:gd name="T62" fmla="*/ 9 w 32"/>
                <a:gd name="T63" fmla="*/ 14 h 30"/>
                <a:gd name="T64" fmla="*/ 17 w 32"/>
                <a:gd name="T65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0">
                  <a:moveTo>
                    <a:pt x="0" y="29"/>
                  </a:moveTo>
                  <a:cubicBezTo>
                    <a:pt x="2" y="29"/>
                    <a:pt x="3" y="28"/>
                    <a:pt x="4" y="28"/>
                  </a:cubicBezTo>
                  <a:cubicBezTo>
                    <a:pt x="4" y="27"/>
                    <a:pt x="4" y="26"/>
                    <a:pt x="4" y="2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4" y="3"/>
                    <a:pt x="4" y="2"/>
                  </a:cubicBezTo>
                  <a:cubicBezTo>
                    <a:pt x="3" y="2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7" y="0"/>
                    <a:pt x="19" y="1"/>
                    <a:pt x="21" y="1"/>
                  </a:cubicBezTo>
                  <a:cubicBezTo>
                    <a:pt x="24" y="3"/>
                    <a:pt x="26" y="5"/>
                    <a:pt x="26" y="8"/>
                  </a:cubicBezTo>
                  <a:cubicBezTo>
                    <a:pt x="26" y="10"/>
                    <a:pt x="25" y="12"/>
                    <a:pt x="24" y="13"/>
                  </a:cubicBezTo>
                  <a:cubicBezTo>
                    <a:pt x="22" y="14"/>
                    <a:pt x="20" y="15"/>
                    <a:pt x="17" y="15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8" y="27"/>
                    <a:pt x="29" y="28"/>
                    <a:pt x="29" y="28"/>
                  </a:cubicBezTo>
                  <a:cubicBezTo>
                    <a:pt x="30" y="29"/>
                    <a:pt x="31" y="29"/>
                    <a:pt x="32" y="29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6"/>
                    <a:pt x="10" y="28"/>
                    <a:pt x="10" y="28"/>
                  </a:cubicBezTo>
                  <a:cubicBezTo>
                    <a:pt x="11" y="28"/>
                    <a:pt x="12" y="29"/>
                    <a:pt x="14" y="29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0" y="30"/>
                    <a:pt x="0" y="30"/>
                    <a:pt x="0" y="30"/>
                  </a:cubicBezTo>
                  <a:lnTo>
                    <a:pt x="0" y="29"/>
                  </a:lnTo>
                  <a:close/>
                  <a:moveTo>
                    <a:pt x="17" y="13"/>
                  </a:moveTo>
                  <a:cubicBezTo>
                    <a:pt x="20" y="13"/>
                    <a:pt x="21" y="11"/>
                    <a:pt x="21" y="8"/>
                  </a:cubicBezTo>
                  <a:cubicBezTo>
                    <a:pt x="21" y="5"/>
                    <a:pt x="20" y="4"/>
                    <a:pt x="17" y="3"/>
                  </a:cubicBezTo>
                  <a:cubicBezTo>
                    <a:pt x="16" y="2"/>
                    <a:pt x="14" y="2"/>
                    <a:pt x="12" y="2"/>
                  </a:cubicBezTo>
                  <a:cubicBezTo>
                    <a:pt x="11" y="2"/>
                    <a:pt x="10" y="2"/>
                    <a:pt x="10" y="2"/>
                  </a:cubicBezTo>
                  <a:cubicBezTo>
                    <a:pt x="10" y="2"/>
                    <a:pt x="9" y="3"/>
                    <a:pt x="9" y="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3" y="14"/>
                    <a:pt x="15" y="14"/>
                    <a:pt x="1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33" name="Freeform 21"/>
            <p:cNvSpPr>
              <a:spLocks noEditPoints="1"/>
            </p:cNvSpPr>
            <p:nvPr/>
          </p:nvSpPr>
          <p:spPr bwMode="auto">
            <a:xfrm>
              <a:off x="1790" y="3654"/>
              <a:ext cx="227" cy="212"/>
            </a:xfrm>
            <a:custGeom>
              <a:avLst/>
              <a:gdLst>
                <a:gd name="T0" fmla="*/ 5 w 32"/>
                <a:gd name="T1" fmla="*/ 4 h 30"/>
                <a:gd name="T2" fmla="*/ 16 w 32"/>
                <a:gd name="T3" fmla="*/ 0 h 30"/>
                <a:gd name="T4" fmla="*/ 28 w 32"/>
                <a:gd name="T5" fmla="*/ 4 h 30"/>
                <a:gd name="T6" fmla="*/ 32 w 32"/>
                <a:gd name="T7" fmla="*/ 15 h 30"/>
                <a:gd name="T8" fmla="*/ 27 w 32"/>
                <a:gd name="T9" fmla="*/ 26 h 30"/>
                <a:gd name="T10" fmla="*/ 16 w 32"/>
                <a:gd name="T11" fmla="*/ 30 h 30"/>
                <a:gd name="T12" fmla="*/ 5 w 32"/>
                <a:gd name="T13" fmla="*/ 26 h 30"/>
                <a:gd name="T14" fmla="*/ 0 w 32"/>
                <a:gd name="T15" fmla="*/ 15 h 30"/>
                <a:gd name="T16" fmla="*/ 5 w 32"/>
                <a:gd name="T17" fmla="*/ 4 h 30"/>
                <a:gd name="T18" fmla="*/ 9 w 32"/>
                <a:gd name="T19" fmla="*/ 25 h 30"/>
                <a:gd name="T20" fmla="*/ 16 w 32"/>
                <a:gd name="T21" fmla="*/ 29 h 30"/>
                <a:gd name="T22" fmla="*/ 24 w 32"/>
                <a:gd name="T23" fmla="*/ 25 h 30"/>
                <a:gd name="T24" fmla="*/ 27 w 32"/>
                <a:gd name="T25" fmla="*/ 15 h 30"/>
                <a:gd name="T26" fmla="*/ 24 w 32"/>
                <a:gd name="T27" fmla="*/ 5 h 30"/>
                <a:gd name="T28" fmla="*/ 16 w 32"/>
                <a:gd name="T29" fmla="*/ 1 h 30"/>
                <a:gd name="T30" fmla="*/ 9 w 32"/>
                <a:gd name="T31" fmla="*/ 5 h 30"/>
                <a:gd name="T32" fmla="*/ 6 w 32"/>
                <a:gd name="T33" fmla="*/ 15 h 30"/>
                <a:gd name="T34" fmla="*/ 9 w 32"/>
                <a:gd name="T35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0">
                  <a:moveTo>
                    <a:pt x="5" y="4"/>
                  </a:moveTo>
                  <a:cubicBezTo>
                    <a:pt x="8" y="1"/>
                    <a:pt x="12" y="0"/>
                    <a:pt x="16" y="0"/>
                  </a:cubicBezTo>
                  <a:cubicBezTo>
                    <a:pt x="21" y="0"/>
                    <a:pt x="25" y="1"/>
                    <a:pt x="28" y="4"/>
                  </a:cubicBezTo>
                  <a:cubicBezTo>
                    <a:pt x="31" y="6"/>
                    <a:pt x="32" y="10"/>
                    <a:pt x="32" y="15"/>
                  </a:cubicBezTo>
                  <a:cubicBezTo>
                    <a:pt x="32" y="20"/>
                    <a:pt x="31" y="24"/>
                    <a:pt x="27" y="26"/>
                  </a:cubicBezTo>
                  <a:cubicBezTo>
                    <a:pt x="24" y="29"/>
                    <a:pt x="21" y="30"/>
                    <a:pt x="16" y="30"/>
                  </a:cubicBezTo>
                  <a:cubicBezTo>
                    <a:pt x="12" y="30"/>
                    <a:pt x="8" y="29"/>
                    <a:pt x="5" y="26"/>
                  </a:cubicBezTo>
                  <a:cubicBezTo>
                    <a:pt x="2" y="23"/>
                    <a:pt x="0" y="20"/>
                    <a:pt x="0" y="15"/>
                  </a:cubicBezTo>
                  <a:cubicBezTo>
                    <a:pt x="0" y="10"/>
                    <a:pt x="2" y="6"/>
                    <a:pt x="5" y="4"/>
                  </a:cubicBezTo>
                  <a:close/>
                  <a:moveTo>
                    <a:pt x="9" y="25"/>
                  </a:moveTo>
                  <a:cubicBezTo>
                    <a:pt x="11" y="28"/>
                    <a:pt x="14" y="29"/>
                    <a:pt x="16" y="29"/>
                  </a:cubicBezTo>
                  <a:cubicBezTo>
                    <a:pt x="19" y="29"/>
                    <a:pt x="22" y="28"/>
                    <a:pt x="24" y="25"/>
                  </a:cubicBezTo>
                  <a:cubicBezTo>
                    <a:pt x="26" y="23"/>
                    <a:pt x="27" y="20"/>
                    <a:pt x="27" y="15"/>
                  </a:cubicBezTo>
                  <a:cubicBezTo>
                    <a:pt x="27" y="10"/>
                    <a:pt x="26" y="7"/>
                    <a:pt x="24" y="5"/>
                  </a:cubicBezTo>
                  <a:cubicBezTo>
                    <a:pt x="22" y="2"/>
                    <a:pt x="19" y="1"/>
                    <a:pt x="16" y="1"/>
                  </a:cubicBezTo>
                  <a:cubicBezTo>
                    <a:pt x="14" y="1"/>
                    <a:pt x="11" y="2"/>
                    <a:pt x="9" y="5"/>
                  </a:cubicBezTo>
                  <a:cubicBezTo>
                    <a:pt x="7" y="7"/>
                    <a:pt x="6" y="10"/>
                    <a:pt x="6" y="15"/>
                  </a:cubicBezTo>
                  <a:cubicBezTo>
                    <a:pt x="6" y="20"/>
                    <a:pt x="7" y="23"/>
                    <a:pt x="9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34" name="Freeform 22"/>
            <p:cNvSpPr>
              <a:spLocks/>
            </p:cNvSpPr>
            <p:nvPr/>
          </p:nvSpPr>
          <p:spPr bwMode="auto">
            <a:xfrm>
              <a:off x="2024" y="3654"/>
              <a:ext cx="235" cy="212"/>
            </a:xfrm>
            <a:custGeom>
              <a:avLst/>
              <a:gdLst>
                <a:gd name="T0" fmla="*/ 13 w 33"/>
                <a:gd name="T1" fmla="*/ 0 h 30"/>
                <a:gd name="T2" fmla="*/ 13 w 33"/>
                <a:gd name="T3" fmla="*/ 1 h 30"/>
                <a:gd name="T4" fmla="*/ 10 w 33"/>
                <a:gd name="T5" fmla="*/ 1 h 30"/>
                <a:gd name="T6" fmla="*/ 9 w 33"/>
                <a:gd name="T7" fmla="*/ 3 h 30"/>
                <a:gd name="T8" fmla="*/ 9 w 33"/>
                <a:gd name="T9" fmla="*/ 4 h 30"/>
                <a:gd name="T10" fmla="*/ 11 w 33"/>
                <a:gd name="T11" fmla="*/ 8 h 30"/>
                <a:gd name="T12" fmla="*/ 18 w 33"/>
                <a:gd name="T13" fmla="*/ 23 h 30"/>
                <a:gd name="T14" fmla="*/ 25 w 33"/>
                <a:gd name="T15" fmla="*/ 6 h 30"/>
                <a:gd name="T16" fmla="*/ 26 w 33"/>
                <a:gd name="T17" fmla="*/ 4 h 30"/>
                <a:gd name="T18" fmla="*/ 26 w 33"/>
                <a:gd name="T19" fmla="*/ 3 h 30"/>
                <a:gd name="T20" fmla="*/ 25 w 33"/>
                <a:gd name="T21" fmla="*/ 1 h 30"/>
                <a:gd name="T22" fmla="*/ 23 w 33"/>
                <a:gd name="T23" fmla="*/ 1 h 30"/>
                <a:gd name="T24" fmla="*/ 23 w 33"/>
                <a:gd name="T25" fmla="*/ 0 h 30"/>
                <a:gd name="T26" fmla="*/ 33 w 33"/>
                <a:gd name="T27" fmla="*/ 0 h 30"/>
                <a:gd name="T28" fmla="*/ 33 w 33"/>
                <a:gd name="T29" fmla="*/ 1 h 30"/>
                <a:gd name="T30" fmla="*/ 30 w 33"/>
                <a:gd name="T31" fmla="*/ 2 h 30"/>
                <a:gd name="T32" fmla="*/ 28 w 33"/>
                <a:gd name="T33" fmla="*/ 5 h 30"/>
                <a:gd name="T34" fmla="*/ 17 w 33"/>
                <a:gd name="T35" fmla="*/ 30 h 30"/>
                <a:gd name="T36" fmla="*/ 17 w 33"/>
                <a:gd name="T37" fmla="*/ 30 h 30"/>
                <a:gd name="T38" fmla="*/ 5 w 33"/>
                <a:gd name="T39" fmla="*/ 6 h 30"/>
                <a:gd name="T40" fmla="*/ 2 w 33"/>
                <a:gd name="T41" fmla="*/ 2 h 30"/>
                <a:gd name="T42" fmla="*/ 0 w 33"/>
                <a:gd name="T43" fmla="*/ 1 h 30"/>
                <a:gd name="T44" fmla="*/ 0 w 33"/>
                <a:gd name="T45" fmla="*/ 0 h 30"/>
                <a:gd name="T46" fmla="*/ 13 w 33"/>
                <a:gd name="T4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3" h="30">
                  <a:moveTo>
                    <a:pt x="13" y="0"/>
                  </a:moveTo>
                  <a:cubicBezTo>
                    <a:pt x="13" y="1"/>
                    <a:pt x="13" y="1"/>
                    <a:pt x="13" y="1"/>
                  </a:cubicBezTo>
                  <a:cubicBezTo>
                    <a:pt x="11" y="1"/>
                    <a:pt x="10" y="1"/>
                    <a:pt x="10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9" y="3"/>
                    <a:pt x="9" y="4"/>
                    <a:pt x="9" y="4"/>
                  </a:cubicBezTo>
                  <a:cubicBezTo>
                    <a:pt x="10" y="5"/>
                    <a:pt x="10" y="6"/>
                    <a:pt x="11" y="8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6" y="6"/>
                    <a:pt x="26" y="5"/>
                    <a:pt x="26" y="4"/>
                  </a:cubicBezTo>
                  <a:cubicBezTo>
                    <a:pt x="26" y="4"/>
                    <a:pt x="26" y="3"/>
                    <a:pt x="26" y="3"/>
                  </a:cubicBezTo>
                  <a:cubicBezTo>
                    <a:pt x="26" y="2"/>
                    <a:pt x="26" y="2"/>
                    <a:pt x="25" y="1"/>
                  </a:cubicBezTo>
                  <a:cubicBezTo>
                    <a:pt x="25" y="1"/>
                    <a:pt x="24" y="1"/>
                    <a:pt x="23" y="1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2" y="1"/>
                    <a:pt x="31" y="1"/>
                    <a:pt x="30" y="2"/>
                  </a:cubicBezTo>
                  <a:cubicBezTo>
                    <a:pt x="30" y="2"/>
                    <a:pt x="29" y="4"/>
                    <a:pt x="28" y="5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4"/>
                    <a:pt x="3" y="2"/>
                    <a:pt x="2" y="2"/>
                  </a:cubicBezTo>
                  <a:cubicBezTo>
                    <a:pt x="2" y="1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35" name="Freeform 23"/>
            <p:cNvSpPr>
              <a:spLocks/>
            </p:cNvSpPr>
            <p:nvPr/>
          </p:nvSpPr>
          <p:spPr bwMode="auto">
            <a:xfrm>
              <a:off x="2273" y="3654"/>
              <a:ext cx="99" cy="212"/>
            </a:xfrm>
            <a:custGeom>
              <a:avLst/>
              <a:gdLst>
                <a:gd name="T0" fmla="*/ 0 w 14"/>
                <a:gd name="T1" fmla="*/ 29 h 30"/>
                <a:gd name="T2" fmla="*/ 4 w 14"/>
                <a:gd name="T3" fmla="*/ 28 h 30"/>
                <a:gd name="T4" fmla="*/ 5 w 14"/>
                <a:gd name="T5" fmla="*/ 25 h 30"/>
                <a:gd name="T6" fmla="*/ 5 w 14"/>
                <a:gd name="T7" fmla="*/ 5 h 30"/>
                <a:gd name="T8" fmla="*/ 4 w 14"/>
                <a:gd name="T9" fmla="*/ 2 h 30"/>
                <a:gd name="T10" fmla="*/ 0 w 14"/>
                <a:gd name="T11" fmla="*/ 1 h 30"/>
                <a:gd name="T12" fmla="*/ 0 w 14"/>
                <a:gd name="T13" fmla="*/ 0 h 30"/>
                <a:gd name="T14" fmla="*/ 14 w 14"/>
                <a:gd name="T15" fmla="*/ 0 h 30"/>
                <a:gd name="T16" fmla="*/ 14 w 14"/>
                <a:gd name="T17" fmla="*/ 1 h 30"/>
                <a:gd name="T18" fmla="*/ 11 w 14"/>
                <a:gd name="T19" fmla="*/ 2 h 30"/>
                <a:gd name="T20" fmla="*/ 10 w 14"/>
                <a:gd name="T21" fmla="*/ 5 h 30"/>
                <a:gd name="T22" fmla="*/ 10 w 14"/>
                <a:gd name="T23" fmla="*/ 25 h 30"/>
                <a:gd name="T24" fmla="*/ 11 w 14"/>
                <a:gd name="T25" fmla="*/ 28 h 30"/>
                <a:gd name="T26" fmla="*/ 14 w 14"/>
                <a:gd name="T27" fmla="*/ 29 h 30"/>
                <a:gd name="T28" fmla="*/ 14 w 14"/>
                <a:gd name="T29" fmla="*/ 30 h 30"/>
                <a:gd name="T30" fmla="*/ 0 w 14"/>
                <a:gd name="T31" fmla="*/ 30 h 30"/>
                <a:gd name="T32" fmla="*/ 0 w 14"/>
                <a:gd name="T33" fmla="*/ 2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" h="30">
                  <a:moveTo>
                    <a:pt x="0" y="29"/>
                  </a:moveTo>
                  <a:cubicBezTo>
                    <a:pt x="2" y="29"/>
                    <a:pt x="3" y="28"/>
                    <a:pt x="4" y="28"/>
                  </a:cubicBezTo>
                  <a:cubicBezTo>
                    <a:pt x="4" y="28"/>
                    <a:pt x="5" y="27"/>
                    <a:pt x="5" y="2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4" y="2"/>
                    <a:pt x="4" y="2"/>
                  </a:cubicBezTo>
                  <a:cubicBezTo>
                    <a:pt x="3" y="2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1" y="2"/>
                    <a:pt x="11" y="2"/>
                  </a:cubicBezTo>
                  <a:cubicBezTo>
                    <a:pt x="10" y="2"/>
                    <a:pt x="10" y="4"/>
                    <a:pt x="10" y="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7"/>
                    <a:pt x="10" y="28"/>
                    <a:pt x="11" y="28"/>
                  </a:cubicBezTo>
                  <a:cubicBezTo>
                    <a:pt x="11" y="28"/>
                    <a:pt x="12" y="29"/>
                    <a:pt x="14" y="29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0" y="30"/>
                    <a:pt x="0" y="30"/>
                    <a:pt x="0" y="30"/>
                  </a:cubicBezTo>
                  <a:lnTo>
                    <a:pt x="0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36" name="Freeform 24"/>
            <p:cNvSpPr>
              <a:spLocks/>
            </p:cNvSpPr>
            <p:nvPr/>
          </p:nvSpPr>
          <p:spPr bwMode="auto">
            <a:xfrm>
              <a:off x="2401" y="3654"/>
              <a:ext cx="241" cy="212"/>
            </a:xfrm>
            <a:custGeom>
              <a:avLst/>
              <a:gdLst>
                <a:gd name="T0" fmla="*/ 0 w 34"/>
                <a:gd name="T1" fmla="*/ 29 h 30"/>
                <a:gd name="T2" fmla="*/ 4 w 34"/>
                <a:gd name="T3" fmla="*/ 28 h 30"/>
                <a:gd name="T4" fmla="*/ 5 w 34"/>
                <a:gd name="T5" fmla="*/ 23 h 30"/>
                <a:gd name="T6" fmla="*/ 5 w 34"/>
                <a:gd name="T7" fmla="*/ 4 h 30"/>
                <a:gd name="T8" fmla="*/ 4 w 34"/>
                <a:gd name="T9" fmla="*/ 3 h 30"/>
                <a:gd name="T10" fmla="*/ 2 w 34"/>
                <a:gd name="T11" fmla="*/ 1 h 30"/>
                <a:gd name="T12" fmla="*/ 0 w 34"/>
                <a:gd name="T13" fmla="*/ 1 h 30"/>
                <a:gd name="T14" fmla="*/ 0 w 34"/>
                <a:gd name="T15" fmla="*/ 0 h 30"/>
                <a:gd name="T16" fmla="*/ 8 w 34"/>
                <a:gd name="T17" fmla="*/ 0 h 30"/>
                <a:gd name="T18" fmla="*/ 27 w 34"/>
                <a:gd name="T19" fmla="*/ 22 h 30"/>
                <a:gd name="T20" fmla="*/ 27 w 34"/>
                <a:gd name="T21" fmla="*/ 7 h 30"/>
                <a:gd name="T22" fmla="*/ 26 w 34"/>
                <a:gd name="T23" fmla="*/ 2 h 30"/>
                <a:gd name="T24" fmla="*/ 23 w 34"/>
                <a:gd name="T25" fmla="*/ 1 h 30"/>
                <a:gd name="T26" fmla="*/ 23 w 34"/>
                <a:gd name="T27" fmla="*/ 0 h 30"/>
                <a:gd name="T28" fmla="*/ 34 w 34"/>
                <a:gd name="T29" fmla="*/ 0 h 30"/>
                <a:gd name="T30" fmla="*/ 34 w 34"/>
                <a:gd name="T31" fmla="*/ 1 h 30"/>
                <a:gd name="T32" fmla="*/ 30 w 34"/>
                <a:gd name="T33" fmla="*/ 2 h 30"/>
                <a:gd name="T34" fmla="*/ 29 w 34"/>
                <a:gd name="T35" fmla="*/ 7 h 30"/>
                <a:gd name="T36" fmla="*/ 29 w 34"/>
                <a:gd name="T37" fmla="*/ 30 h 30"/>
                <a:gd name="T38" fmla="*/ 29 w 34"/>
                <a:gd name="T39" fmla="*/ 30 h 30"/>
                <a:gd name="T40" fmla="*/ 7 w 34"/>
                <a:gd name="T41" fmla="*/ 6 h 30"/>
                <a:gd name="T42" fmla="*/ 7 w 34"/>
                <a:gd name="T43" fmla="*/ 23 h 30"/>
                <a:gd name="T44" fmla="*/ 8 w 34"/>
                <a:gd name="T45" fmla="*/ 28 h 30"/>
                <a:gd name="T46" fmla="*/ 12 w 34"/>
                <a:gd name="T47" fmla="*/ 29 h 30"/>
                <a:gd name="T48" fmla="*/ 12 w 34"/>
                <a:gd name="T49" fmla="*/ 30 h 30"/>
                <a:gd name="T50" fmla="*/ 0 w 34"/>
                <a:gd name="T51" fmla="*/ 30 h 30"/>
                <a:gd name="T52" fmla="*/ 0 w 34"/>
                <a:gd name="T53" fmla="*/ 2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4" h="30">
                  <a:moveTo>
                    <a:pt x="0" y="29"/>
                  </a:moveTo>
                  <a:cubicBezTo>
                    <a:pt x="2" y="29"/>
                    <a:pt x="3" y="28"/>
                    <a:pt x="4" y="28"/>
                  </a:cubicBezTo>
                  <a:cubicBezTo>
                    <a:pt x="5" y="27"/>
                    <a:pt x="5" y="25"/>
                    <a:pt x="5" y="2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2"/>
                    <a:pt x="3" y="2"/>
                    <a:pt x="2" y="1"/>
                  </a:cubicBezTo>
                  <a:cubicBezTo>
                    <a:pt x="2" y="1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4"/>
                    <a:pt x="27" y="3"/>
                    <a:pt x="26" y="2"/>
                  </a:cubicBezTo>
                  <a:cubicBezTo>
                    <a:pt x="26" y="2"/>
                    <a:pt x="24" y="1"/>
                    <a:pt x="23" y="1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2" y="1"/>
                    <a:pt x="31" y="2"/>
                    <a:pt x="30" y="2"/>
                  </a:cubicBezTo>
                  <a:cubicBezTo>
                    <a:pt x="30" y="3"/>
                    <a:pt x="29" y="5"/>
                    <a:pt x="29" y="7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6"/>
                    <a:pt x="7" y="27"/>
                    <a:pt x="8" y="28"/>
                  </a:cubicBezTo>
                  <a:cubicBezTo>
                    <a:pt x="9" y="28"/>
                    <a:pt x="10" y="29"/>
                    <a:pt x="12" y="29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0" y="30"/>
                    <a:pt x="0" y="30"/>
                    <a:pt x="0" y="30"/>
                  </a:cubicBezTo>
                  <a:lnTo>
                    <a:pt x="0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37" name="Freeform 25"/>
            <p:cNvSpPr>
              <a:spLocks/>
            </p:cNvSpPr>
            <p:nvPr/>
          </p:nvSpPr>
          <p:spPr bwMode="auto">
            <a:xfrm>
              <a:off x="2663" y="3654"/>
              <a:ext cx="235" cy="212"/>
            </a:xfrm>
            <a:custGeom>
              <a:avLst/>
              <a:gdLst>
                <a:gd name="T0" fmla="*/ 23 w 33"/>
                <a:gd name="T1" fmla="*/ 1 h 30"/>
                <a:gd name="T2" fmla="*/ 26 w 33"/>
                <a:gd name="T3" fmla="*/ 1 h 30"/>
                <a:gd name="T4" fmla="*/ 27 w 33"/>
                <a:gd name="T5" fmla="*/ 1 h 30"/>
                <a:gd name="T6" fmla="*/ 28 w 33"/>
                <a:gd name="T7" fmla="*/ 0 h 30"/>
                <a:gd name="T8" fmla="*/ 29 w 33"/>
                <a:gd name="T9" fmla="*/ 0 h 30"/>
                <a:gd name="T10" fmla="*/ 29 w 33"/>
                <a:gd name="T11" fmla="*/ 9 h 30"/>
                <a:gd name="T12" fmla="*/ 28 w 33"/>
                <a:gd name="T13" fmla="*/ 9 h 30"/>
                <a:gd name="T14" fmla="*/ 25 w 33"/>
                <a:gd name="T15" fmla="*/ 4 h 30"/>
                <a:gd name="T16" fmla="*/ 18 w 33"/>
                <a:gd name="T17" fmla="*/ 2 h 30"/>
                <a:gd name="T18" fmla="*/ 9 w 33"/>
                <a:gd name="T19" fmla="*/ 5 h 30"/>
                <a:gd name="T20" fmla="*/ 6 w 33"/>
                <a:gd name="T21" fmla="*/ 15 h 30"/>
                <a:gd name="T22" fmla="*/ 9 w 33"/>
                <a:gd name="T23" fmla="*/ 25 h 30"/>
                <a:gd name="T24" fmla="*/ 18 w 33"/>
                <a:gd name="T25" fmla="*/ 28 h 30"/>
                <a:gd name="T26" fmla="*/ 20 w 33"/>
                <a:gd name="T27" fmla="*/ 28 h 30"/>
                <a:gd name="T28" fmla="*/ 22 w 33"/>
                <a:gd name="T29" fmla="*/ 28 h 30"/>
                <a:gd name="T30" fmla="*/ 25 w 33"/>
                <a:gd name="T31" fmla="*/ 27 h 30"/>
                <a:gd name="T32" fmla="*/ 25 w 33"/>
                <a:gd name="T33" fmla="*/ 26 h 30"/>
                <a:gd name="T34" fmla="*/ 25 w 33"/>
                <a:gd name="T35" fmla="*/ 19 h 30"/>
                <a:gd name="T36" fmla="*/ 24 w 33"/>
                <a:gd name="T37" fmla="*/ 16 h 30"/>
                <a:gd name="T38" fmla="*/ 21 w 33"/>
                <a:gd name="T39" fmla="*/ 15 h 30"/>
                <a:gd name="T40" fmla="*/ 21 w 33"/>
                <a:gd name="T41" fmla="*/ 14 h 30"/>
                <a:gd name="T42" fmla="*/ 33 w 33"/>
                <a:gd name="T43" fmla="*/ 14 h 30"/>
                <a:gd name="T44" fmla="*/ 33 w 33"/>
                <a:gd name="T45" fmla="*/ 15 h 30"/>
                <a:gd name="T46" fmla="*/ 31 w 33"/>
                <a:gd name="T47" fmla="*/ 15 h 30"/>
                <a:gd name="T48" fmla="*/ 30 w 33"/>
                <a:gd name="T49" fmla="*/ 18 h 30"/>
                <a:gd name="T50" fmla="*/ 30 w 33"/>
                <a:gd name="T51" fmla="*/ 27 h 30"/>
                <a:gd name="T52" fmla="*/ 26 w 33"/>
                <a:gd name="T53" fmla="*/ 29 h 30"/>
                <a:gd name="T54" fmla="*/ 18 w 33"/>
                <a:gd name="T55" fmla="*/ 30 h 30"/>
                <a:gd name="T56" fmla="*/ 5 w 33"/>
                <a:gd name="T57" fmla="*/ 26 h 30"/>
                <a:gd name="T58" fmla="*/ 0 w 33"/>
                <a:gd name="T59" fmla="*/ 15 h 30"/>
                <a:gd name="T60" fmla="*/ 4 w 33"/>
                <a:gd name="T61" fmla="*/ 5 h 30"/>
                <a:gd name="T62" fmla="*/ 17 w 33"/>
                <a:gd name="T63" fmla="*/ 0 h 30"/>
                <a:gd name="T64" fmla="*/ 23 w 33"/>
                <a:gd name="T65" fmla="*/ 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3" h="30">
                  <a:moveTo>
                    <a:pt x="23" y="1"/>
                  </a:moveTo>
                  <a:cubicBezTo>
                    <a:pt x="24" y="1"/>
                    <a:pt x="25" y="1"/>
                    <a:pt x="26" y="1"/>
                  </a:cubicBezTo>
                  <a:cubicBezTo>
                    <a:pt x="26" y="1"/>
                    <a:pt x="27" y="1"/>
                    <a:pt x="27" y="1"/>
                  </a:cubicBezTo>
                  <a:cubicBezTo>
                    <a:pt x="27" y="1"/>
                    <a:pt x="28" y="0"/>
                    <a:pt x="28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7"/>
                    <a:pt x="26" y="5"/>
                    <a:pt x="25" y="4"/>
                  </a:cubicBezTo>
                  <a:cubicBezTo>
                    <a:pt x="23" y="3"/>
                    <a:pt x="21" y="2"/>
                    <a:pt x="18" y="2"/>
                  </a:cubicBezTo>
                  <a:cubicBezTo>
                    <a:pt x="15" y="2"/>
                    <a:pt x="12" y="3"/>
                    <a:pt x="9" y="5"/>
                  </a:cubicBezTo>
                  <a:cubicBezTo>
                    <a:pt x="7" y="7"/>
                    <a:pt x="6" y="11"/>
                    <a:pt x="6" y="15"/>
                  </a:cubicBezTo>
                  <a:cubicBezTo>
                    <a:pt x="6" y="20"/>
                    <a:pt x="7" y="23"/>
                    <a:pt x="9" y="25"/>
                  </a:cubicBezTo>
                  <a:cubicBezTo>
                    <a:pt x="12" y="27"/>
                    <a:pt x="15" y="28"/>
                    <a:pt x="18" y="28"/>
                  </a:cubicBezTo>
                  <a:cubicBezTo>
                    <a:pt x="19" y="28"/>
                    <a:pt x="19" y="28"/>
                    <a:pt x="20" y="28"/>
                  </a:cubicBezTo>
                  <a:cubicBezTo>
                    <a:pt x="21" y="28"/>
                    <a:pt x="22" y="28"/>
                    <a:pt x="22" y="28"/>
                  </a:cubicBezTo>
                  <a:cubicBezTo>
                    <a:pt x="24" y="27"/>
                    <a:pt x="24" y="27"/>
                    <a:pt x="25" y="27"/>
                  </a:cubicBezTo>
                  <a:cubicBezTo>
                    <a:pt x="25" y="27"/>
                    <a:pt x="25" y="26"/>
                    <a:pt x="25" y="26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17"/>
                    <a:pt x="25" y="16"/>
                    <a:pt x="24" y="16"/>
                  </a:cubicBezTo>
                  <a:cubicBezTo>
                    <a:pt x="24" y="15"/>
                    <a:pt x="23" y="15"/>
                    <a:pt x="21" y="15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2" y="15"/>
                    <a:pt x="31" y="15"/>
                    <a:pt x="31" y="15"/>
                  </a:cubicBezTo>
                  <a:cubicBezTo>
                    <a:pt x="30" y="16"/>
                    <a:pt x="30" y="17"/>
                    <a:pt x="30" y="18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30" y="27"/>
                    <a:pt x="28" y="28"/>
                    <a:pt x="26" y="29"/>
                  </a:cubicBezTo>
                  <a:cubicBezTo>
                    <a:pt x="23" y="30"/>
                    <a:pt x="20" y="30"/>
                    <a:pt x="18" y="30"/>
                  </a:cubicBezTo>
                  <a:cubicBezTo>
                    <a:pt x="13" y="30"/>
                    <a:pt x="9" y="29"/>
                    <a:pt x="5" y="26"/>
                  </a:cubicBezTo>
                  <a:cubicBezTo>
                    <a:pt x="2" y="24"/>
                    <a:pt x="0" y="20"/>
                    <a:pt x="0" y="15"/>
                  </a:cubicBezTo>
                  <a:cubicBezTo>
                    <a:pt x="0" y="11"/>
                    <a:pt x="2" y="8"/>
                    <a:pt x="4" y="5"/>
                  </a:cubicBezTo>
                  <a:cubicBezTo>
                    <a:pt x="8" y="1"/>
                    <a:pt x="12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38" name="Freeform 26"/>
            <p:cNvSpPr>
              <a:spLocks/>
            </p:cNvSpPr>
            <p:nvPr/>
          </p:nvSpPr>
          <p:spPr bwMode="auto">
            <a:xfrm>
              <a:off x="3026" y="3654"/>
              <a:ext cx="198" cy="212"/>
            </a:xfrm>
            <a:custGeom>
              <a:avLst/>
              <a:gdLst>
                <a:gd name="T0" fmla="*/ 0 w 28"/>
                <a:gd name="T1" fmla="*/ 0 h 30"/>
                <a:gd name="T2" fmla="*/ 28 w 28"/>
                <a:gd name="T3" fmla="*/ 0 h 30"/>
                <a:gd name="T4" fmla="*/ 28 w 28"/>
                <a:gd name="T5" fmla="*/ 8 h 30"/>
                <a:gd name="T6" fmla="*/ 27 w 28"/>
                <a:gd name="T7" fmla="*/ 8 h 30"/>
                <a:gd name="T8" fmla="*/ 25 w 28"/>
                <a:gd name="T9" fmla="*/ 3 h 30"/>
                <a:gd name="T10" fmla="*/ 19 w 28"/>
                <a:gd name="T11" fmla="*/ 2 h 30"/>
                <a:gd name="T12" fmla="*/ 16 w 28"/>
                <a:gd name="T13" fmla="*/ 2 h 30"/>
                <a:gd name="T14" fmla="*/ 16 w 28"/>
                <a:gd name="T15" fmla="*/ 25 h 30"/>
                <a:gd name="T16" fmla="*/ 17 w 28"/>
                <a:gd name="T17" fmla="*/ 28 h 30"/>
                <a:gd name="T18" fmla="*/ 21 w 28"/>
                <a:gd name="T19" fmla="*/ 29 h 30"/>
                <a:gd name="T20" fmla="*/ 21 w 28"/>
                <a:gd name="T21" fmla="*/ 30 h 30"/>
                <a:gd name="T22" fmla="*/ 7 w 28"/>
                <a:gd name="T23" fmla="*/ 30 h 30"/>
                <a:gd name="T24" fmla="*/ 7 w 28"/>
                <a:gd name="T25" fmla="*/ 29 h 30"/>
                <a:gd name="T26" fmla="*/ 11 w 28"/>
                <a:gd name="T27" fmla="*/ 28 h 30"/>
                <a:gd name="T28" fmla="*/ 12 w 28"/>
                <a:gd name="T29" fmla="*/ 24 h 30"/>
                <a:gd name="T30" fmla="*/ 12 w 28"/>
                <a:gd name="T31" fmla="*/ 2 h 30"/>
                <a:gd name="T32" fmla="*/ 9 w 28"/>
                <a:gd name="T33" fmla="*/ 2 h 30"/>
                <a:gd name="T34" fmla="*/ 3 w 28"/>
                <a:gd name="T35" fmla="*/ 3 h 30"/>
                <a:gd name="T36" fmla="*/ 1 w 28"/>
                <a:gd name="T37" fmla="*/ 8 h 30"/>
                <a:gd name="T38" fmla="*/ 0 w 28"/>
                <a:gd name="T39" fmla="*/ 8 h 30"/>
                <a:gd name="T40" fmla="*/ 0 w 28"/>
                <a:gd name="T4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30">
                  <a:moveTo>
                    <a:pt x="0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6"/>
                    <a:pt x="26" y="4"/>
                    <a:pt x="25" y="3"/>
                  </a:cubicBezTo>
                  <a:cubicBezTo>
                    <a:pt x="24" y="3"/>
                    <a:pt x="22" y="2"/>
                    <a:pt x="19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6" y="27"/>
                    <a:pt x="17" y="28"/>
                    <a:pt x="17" y="28"/>
                  </a:cubicBezTo>
                  <a:cubicBezTo>
                    <a:pt x="18" y="28"/>
                    <a:pt x="19" y="29"/>
                    <a:pt x="21" y="2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9" y="29"/>
                    <a:pt x="10" y="28"/>
                    <a:pt x="11" y="28"/>
                  </a:cubicBezTo>
                  <a:cubicBezTo>
                    <a:pt x="11" y="27"/>
                    <a:pt x="12" y="26"/>
                    <a:pt x="12" y="2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6" y="2"/>
                    <a:pt x="4" y="3"/>
                    <a:pt x="3" y="3"/>
                  </a:cubicBezTo>
                  <a:cubicBezTo>
                    <a:pt x="2" y="4"/>
                    <a:pt x="2" y="5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39" name="Freeform 27"/>
            <p:cNvSpPr>
              <a:spLocks/>
            </p:cNvSpPr>
            <p:nvPr/>
          </p:nvSpPr>
          <p:spPr bwMode="auto">
            <a:xfrm>
              <a:off x="3246" y="3654"/>
              <a:ext cx="241" cy="212"/>
            </a:xfrm>
            <a:custGeom>
              <a:avLst/>
              <a:gdLst>
                <a:gd name="T0" fmla="*/ 0 w 34"/>
                <a:gd name="T1" fmla="*/ 29 h 30"/>
                <a:gd name="T2" fmla="*/ 4 w 34"/>
                <a:gd name="T3" fmla="*/ 28 h 30"/>
                <a:gd name="T4" fmla="*/ 5 w 34"/>
                <a:gd name="T5" fmla="*/ 24 h 30"/>
                <a:gd name="T6" fmla="*/ 5 w 34"/>
                <a:gd name="T7" fmla="*/ 5 h 30"/>
                <a:gd name="T8" fmla="*/ 4 w 34"/>
                <a:gd name="T9" fmla="*/ 2 h 30"/>
                <a:gd name="T10" fmla="*/ 0 w 34"/>
                <a:gd name="T11" fmla="*/ 1 h 30"/>
                <a:gd name="T12" fmla="*/ 0 w 34"/>
                <a:gd name="T13" fmla="*/ 0 h 30"/>
                <a:gd name="T14" fmla="*/ 14 w 34"/>
                <a:gd name="T15" fmla="*/ 0 h 30"/>
                <a:gd name="T16" fmla="*/ 14 w 34"/>
                <a:gd name="T17" fmla="*/ 1 h 30"/>
                <a:gd name="T18" fmla="*/ 11 w 34"/>
                <a:gd name="T19" fmla="*/ 2 h 30"/>
                <a:gd name="T20" fmla="*/ 10 w 34"/>
                <a:gd name="T21" fmla="*/ 5 h 30"/>
                <a:gd name="T22" fmla="*/ 10 w 34"/>
                <a:gd name="T23" fmla="*/ 14 h 30"/>
                <a:gd name="T24" fmla="*/ 25 w 34"/>
                <a:gd name="T25" fmla="*/ 14 h 30"/>
                <a:gd name="T26" fmla="*/ 25 w 34"/>
                <a:gd name="T27" fmla="*/ 5 h 30"/>
                <a:gd name="T28" fmla="*/ 24 w 34"/>
                <a:gd name="T29" fmla="*/ 2 h 30"/>
                <a:gd name="T30" fmla="*/ 20 w 34"/>
                <a:gd name="T31" fmla="*/ 1 h 30"/>
                <a:gd name="T32" fmla="*/ 20 w 34"/>
                <a:gd name="T33" fmla="*/ 0 h 30"/>
                <a:gd name="T34" fmla="*/ 34 w 34"/>
                <a:gd name="T35" fmla="*/ 0 h 30"/>
                <a:gd name="T36" fmla="*/ 34 w 34"/>
                <a:gd name="T37" fmla="*/ 1 h 30"/>
                <a:gd name="T38" fmla="*/ 30 w 34"/>
                <a:gd name="T39" fmla="*/ 2 h 30"/>
                <a:gd name="T40" fmla="*/ 29 w 34"/>
                <a:gd name="T41" fmla="*/ 5 h 30"/>
                <a:gd name="T42" fmla="*/ 29 w 34"/>
                <a:gd name="T43" fmla="*/ 25 h 30"/>
                <a:gd name="T44" fmla="*/ 30 w 34"/>
                <a:gd name="T45" fmla="*/ 28 h 30"/>
                <a:gd name="T46" fmla="*/ 34 w 34"/>
                <a:gd name="T47" fmla="*/ 29 h 30"/>
                <a:gd name="T48" fmla="*/ 34 w 34"/>
                <a:gd name="T49" fmla="*/ 30 h 30"/>
                <a:gd name="T50" fmla="*/ 20 w 34"/>
                <a:gd name="T51" fmla="*/ 30 h 30"/>
                <a:gd name="T52" fmla="*/ 20 w 34"/>
                <a:gd name="T53" fmla="*/ 29 h 30"/>
                <a:gd name="T54" fmla="*/ 24 w 34"/>
                <a:gd name="T55" fmla="*/ 28 h 30"/>
                <a:gd name="T56" fmla="*/ 25 w 34"/>
                <a:gd name="T57" fmla="*/ 24 h 30"/>
                <a:gd name="T58" fmla="*/ 25 w 34"/>
                <a:gd name="T59" fmla="*/ 16 h 30"/>
                <a:gd name="T60" fmla="*/ 10 w 34"/>
                <a:gd name="T61" fmla="*/ 16 h 30"/>
                <a:gd name="T62" fmla="*/ 10 w 34"/>
                <a:gd name="T63" fmla="*/ 25 h 30"/>
                <a:gd name="T64" fmla="*/ 11 w 34"/>
                <a:gd name="T65" fmla="*/ 28 h 30"/>
                <a:gd name="T66" fmla="*/ 14 w 34"/>
                <a:gd name="T67" fmla="*/ 29 h 30"/>
                <a:gd name="T68" fmla="*/ 14 w 34"/>
                <a:gd name="T69" fmla="*/ 30 h 30"/>
                <a:gd name="T70" fmla="*/ 0 w 34"/>
                <a:gd name="T71" fmla="*/ 30 h 30"/>
                <a:gd name="T72" fmla="*/ 0 w 34"/>
                <a:gd name="T73" fmla="*/ 2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4" h="30">
                  <a:moveTo>
                    <a:pt x="0" y="29"/>
                  </a:moveTo>
                  <a:cubicBezTo>
                    <a:pt x="2" y="29"/>
                    <a:pt x="4" y="28"/>
                    <a:pt x="4" y="28"/>
                  </a:cubicBezTo>
                  <a:cubicBezTo>
                    <a:pt x="5" y="27"/>
                    <a:pt x="5" y="26"/>
                    <a:pt x="5" y="2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5" y="3"/>
                    <a:pt x="4" y="2"/>
                  </a:cubicBezTo>
                  <a:cubicBezTo>
                    <a:pt x="3" y="2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1" y="2"/>
                    <a:pt x="11" y="2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4"/>
                    <a:pt x="24" y="3"/>
                    <a:pt x="24" y="2"/>
                  </a:cubicBezTo>
                  <a:cubicBezTo>
                    <a:pt x="23" y="2"/>
                    <a:pt x="22" y="1"/>
                    <a:pt x="20" y="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2" y="1"/>
                    <a:pt x="31" y="2"/>
                    <a:pt x="30" y="2"/>
                  </a:cubicBezTo>
                  <a:cubicBezTo>
                    <a:pt x="30" y="3"/>
                    <a:pt x="29" y="4"/>
                    <a:pt x="29" y="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6"/>
                    <a:pt x="30" y="27"/>
                    <a:pt x="30" y="28"/>
                  </a:cubicBezTo>
                  <a:cubicBezTo>
                    <a:pt x="31" y="28"/>
                    <a:pt x="32" y="29"/>
                    <a:pt x="34" y="29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2" y="29"/>
                    <a:pt x="23" y="28"/>
                    <a:pt x="24" y="28"/>
                  </a:cubicBezTo>
                  <a:cubicBezTo>
                    <a:pt x="24" y="27"/>
                    <a:pt x="25" y="26"/>
                    <a:pt x="25" y="24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6"/>
                    <a:pt x="10" y="27"/>
                    <a:pt x="11" y="28"/>
                  </a:cubicBezTo>
                  <a:cubicBezTo>
                    <a:pt x="11" y="28"/>
                    <a:pt x="12" y="29"/>
                    <a:pt x="14" y="29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0" y="30"/>
                    <a:pt x="0" y="30"/>
                    <a:pt x="0" y="30"/>
                  </a:cubicBezTo>
                  <a:lnTo>
                    <a:pt x="0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40" name="Freeform 28"/>
            <p:cNvSpPr>
              <a:spLocks/>
            </p:cNvSpPr>
            <p:nvPr/>
          </p:nvSpPr>
          <p:spPr bwMode="auto">
            <a:xfrm>
              <a:off x="3516" y="3654"/>
              <a:ext cx="205" cy="212"/>
            </a:xfrm>
            <a:custGeom>
              <a:avLst/>
              <a:gdLst>
                <a:gd name="T0" fmla="*/ 0 w 29"/>
                <a:gd name="T1" fmla="*/ 29 h 30"/>
                <a:gd name="T2" fmla="*/ 4 w 29"/>
                <a:gd name="T3" fmla="*/ 28 h 30"/>
                <a:gd name="T4" fmla="*/ 5 w 29"/>
                <a:gd name="T5" fmla="*/ 25 h 30"/>
                <a:gd name="T6" fmla="*/ 5 w 29"/>
                <a:gd name="T7" fmla="*/ 5 h 30"/>
                <a:gd name="T8" fmla="*/ 4 w 29"/>
                <a:gd name="T9" fmla="*/ 2 h 30"/>
                <a:gd name="T10" fmla="*/ 0 w 29"/>
                <a:gd name="T11" fmla="*/ 1 h 30"/>
                <a:gd name="T12" fmla="*/ 0 w 29"/>
                <a:gd name="T13" fmla="*/ 0 h 30"/>
                <a:gd name="T14" fmla="*/ 26 w 29"/>
                <a:gd name="T15" fmla="*/ 0 h 30"/>
                <a:gd name="T16" fmla="*/ 26 w 29"/>
                <a:gd name="T17" fmla="*/ 7 h 30"/>
                <a:gd name="T18" fmla="*/ 25 w 29"/>
                <a:gd name="T19" fmla="*/ 7 h 30"/>
                <a:gd name="T20" fmla="*/ 23 w 29"/>
                <a:gd name="T21" fmla="*/ 3 h 30"/>
                <a:gd name="T22" fmla="*/ 18 w 29"/>
                <a:gd name="T23" fmla="*/ 2 h 30"/>
                <a:gd name="T24" fmla="*/ 11 w 29"/>
                <a:gd name="T25" fmla="*/ 2 h 30"/>
                <a:gd name="T26" fmla="*/ 10 w 29"/>
                <a:gd name="T27" fmla="*/ 2 h 30"/>
                <a:gd name="T28" fmla="*/ 10 w 29"/>
                <a:gd name="T29" fmla="*/ 4 h 30"/>
                <a:gd name="T30" fmla="*/ 10 w 29"/>
                <a:gd name="T31" fmla="*/ 13 h 30"/>
                <a:gd name="T32" fmla="*/ 17 w 29"/>
                <a:gd name="T33" fmla="*/ 13 h 30"/>
                <a:gd name="T34" fmla="*/ 21 w 29"/>
                <a:gd name="T35" fmla="*/ 13 h 30"/>
                <a:gd name="T36" fmla="*/ 22 w 29"/>
                <a:gd name="T37" fmla="*/ 9 h 30"/>
                <a:gd name="T38" fmla="*/ 24 w 29"/>
                <a:gd name="T39" fmla="*/ 9 h 30"/>
                <a:gd name="T40" fmla="*/ 24 w 29"/>
                <a:gd name="T41" fmla="*/ 19 h 30"/>
                <a:gd name="T42" fmla="*/ 22 w 29"/>
                <a:gd name="T43" fmla="*/ 19 h 30"/>
                <a:gd name="T44" fmla="*/ 21 w 29"/>
                <a:gd name="T45" fmla="*/ 16 h 30"/>
                <a:gd name="T46" fmla="*/ 17 w 29"/>
                <a:gd name="T47" fmla="*/ 15 h 30"/>
                <a:gd name="T48" fmla="*/ 10 w 29"/>
                <a:gd name="T49" fmla="*/ 15 h 30"/>
                <a:gd name="T50" fmla="*/ 10 w 29"/>
                <a:gd name="T51" fmla="*/ 26 h 30"/>
                <a:gd name="T52" fmla="*/ 10 w 29"/>
                <a:gd name="T53" fmla="*/ 28 h 30"/>
                <a:gd name="T54" fmla="*/ 16 w 29"/>
                <a:gd name="T55" fmla="*/ 28 h 30"/>
                <a:gd name="T56" fmla="*/ 23 w 29"/>
                <a:gd name="T57" fmla="*/ 27 h 30"/>
                <a:gd name="T58" fmla="*/ 28 w 29"/>
                <a:gd name="T59" fmla="*/ 22 h 30"/>
                <a:gd name="T60" fmla="*/ 29 w 29"/>
                <a:gd name="T61" fmla="*/ 22 h 30"/>
                <a:gd name="T62" fmla="*/ 27 w 29"/>
                <a:gd name="T63" fmla="*/ 30 h 30"/>
                <a:gd name="T64" fmla="*/ 0 w 29"/>
                <a:gd name="T65" fmla="*/ 30 h 30"/>
                <a:gd name="T66" fmla="*/ 0 w 29"/>
                <a:gd name="T67" fmla="*/ 2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" h="30">
                  <a:moveTo>
                    <a:pt x="0" y="29"/>
                  </a:moveTo>
                  <a:cubicBezTo>
                    <a:pt x="2" y="29"/>
                    <a:pt x="3" y="28"/>
                    <a:pt x="4" y="28"/>
                  </a:cubicBezTo>
                  <a:cubicBezTo>
                    <a:pt x="4" y="28"/>
                    <a:pt x="5" y="27"/>
                    <a:pt x="5" y="2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4" y="3"/>
                    <a:pt x="4" y="2"/>
                  </a:cubicBezTo>
                  <a:cubicBezTo>
                    <a:pt x="3" y="2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5"/>
                    <a:pt x="24" y="3"/>
                    <a:pt x="23" y="3"/>
                  </a:cubicBezTo>
                  <a:cubicBezTo>
                    <a:pt x="22" y="2"/>
                    <a:pt x="21" y="2"/>
                    <a:pt x="18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3"/>
                    <a:pt x="10" y="3"/>
                    <a:pt x="10" y="4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9" y="13"/>
                    <a:pt x="20" y="13"/>
                    <a:pt x="21" y="13"/>
                  </a:cubicBezTo>
                  <a:cubicBezTo>
                    <a:pt x="22" y="12"/>
                    <a:pt x="22" y="11"/>
                    <a:pt x="22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18"/>
                    <a:pt x="22" y="17"/>
                    <a:pt x="21" y="16"/>
                  </a:cubicBezTo>
                  <a:cubicBezTo>
                    <a:pt x="20" y="15"/>
                    <a:pt x="19" y="15"/>
                    <a:pt x="17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7"/>
                    <a:pt x="10" y="28"/>
                    <a:pt x="10" y="28"/>
                  </a:cubicBezTo>
                  <a:cubicBezTo>
                    <a:pt x="11" y="28"/>
                    <a:pt x="13" y="28"/>
                    <a:pt x="16" y="28"/>
                  </a:cubicBezTo>
                  <a:cubicBezTo>
                    <a:pt x="19" y="28"/>
                    <a:pt x="22" y="28"/>
                    <a:pt x="23" y="27"/>
                  </a:cubicBezTo>
                  <a:cubicBezTo>
                    <a:pt x="25" y="26"/>
                    <a:pt x="26" y="25"/>
                    <a:pt x="28" y="22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0" y="30"/>
                    <a:pt x="0" y="30"/>
                    <a:pt x="0" y="30"/>
                  </a:cubicBezTo>
                  <a:lnTo>
                    <a:pt x="0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41" name="Freeform 29"/>
            <p:cNvSpPr>
              <a:spLocks/>
            </p:cNvSpPr>
            <p:nvPr/>
          </p:nvSpPr>
          <p:spPr bwMode="auto">
            <a:xfrm>
              <a:off x="3856" y="3654"/>
              <a:ext cx="157" cy="212"/>
            </a:xfrm>
            <a:custGeom>
              <a:avLst/>
              <a:gdLst>
                <a:gd name="T0" fmla="*/ 1 w 22"/>
                <a:gd name="T1" fmla="*/ 21 h 30"/>
                <a:gd name="T2" fmla="*/ 4 w 22"/>
                <a:gd name="T3" fmla="*/ 26 h 30"/>
                <a:gd name="T4" fmla="*/ 11 w 22"/>
                <a:gd name="T5" fmla="*/ 29 h 30"/>
                <a:gd name="T6" fmla="*/ 15 w 22"/>
                <a:gd name="T7" fmla="*/ 27 h 30"/>
                <a:gd name="T8" fmla="*/ 17 w 22"/>
                <a:gd name="T9" fmla="*/ 24 h 30"/>
                <a:gd name="T10" fmla="*/ 15 w 22"/>
                <a:gd name="T11" fmla="*/ 20 h 30"/>
                <a:gd name="T12" fmla="*/ 10 w 22"/>
                <a:gd name="T13" fmla="*/ 17 h 30"/>
                <a:gd name="T14" fmla="*/ 6 w 22"/>
                <a:gd name="T15" fmla="*/ 14 h 30"/>
                <a:gd name="T16" fmla="*/ 3 w 22"/>
                <a:gd name="T17" fmla="*/ 12 h 30"/>
                <a:gd name="T18" fmla="*/ 1 w 22"/>
                <a:gd name="T19" fmla="*/ 8 h 30"/>
                <a:gd name="T20" fmla="*/ 4 w 22"/>
                <a:gd name="T21" fmla="*/ 2 h 30"/>
                <a:gd name="T22" fmla="*/ 10 w 22"/>
                <a:gd name="T23" fmla="*/ 0 h 30"/>
                <a:gd name="T24" fmla="*/ 14 w 22"/>
                <a:gd name="T25" fmla="*/ 0 h 30"/>
                <a:gd name="T26" fmla="*/ 17 w 22"/>
                <a:gd name="T27" fmla="*/ 1 h 30"/>
                <a:gd name="T28" fmla="*/ 18 w 22"/>
                <a:gd name="T29" fmla="*/ 1 h 30"/>
                <a:gd name="T30" fmla="*/ 18 w 22"/>
                <a:gd name="T31" fmla="*/ 0 h 30"/>
                <a:gd name="T32" fmla="*/ 19 w 22"/>
                <a:gd name="T33" fmla="*/ 0 h 30"/>
                <a:gd name="T34" fmla="*/ 21 w 22"/>
                <a:gd name="T35" fmla="*/ 9 h 30"/>
                <a:gd name="T36" fmla="*/ 19 w 22"/>
                <a:gd name="T37" fmla="*/ 9 h 30"/>
                <a:gd name="T38" fmla="*/ 16 w 22"/>
                <a:gd name="T39" fmla="*/ 3 h 30"/>
                <a:gd name="T40" fmla="*/ 10 w 22"/>
                <a:gd name="T41" fmla="*/ 2 h 30"/>
                <a:gd name="T42" fmla="*/ 7 w 22"/>
                <a:gd name="T43" fmla="*/ 3 h 30"/>
                <a:gd name="T44" fmla="*/ 5 w 22"/>
                <a:gd name="T45" fmla="*/ 6 h 30"/>
                <a:gd name="T46" fmla="*/ 7 w 22"/>
                <a:gd name="T47" fmla="*/ 8 h 30"/>
                <a:gd name="T48" fmla="*/ 10 w 22"/>
                <a:gd name="T49" fmla="*/ 11 h 30"/>
                <a:gd name="T50" fmla="*/ 14 w 22"/>
                <a:gd name="T51" fmla="*/ 13 h 30"/>
                <a:gd name="T52" fmla="*/ 20 w 22"/>
                <a:gd name="T53" fmla="*/ 18 h 30"/>
                <a:gd name="T54" fmla="*/ 22 w 22"/>
                <a:gd name="T55" fmla="*/ 22 h 30"/>
                <a:gd name="T56" fmla="*/ 19 w 22"/>
                <a:gd name="T57" fmla="*/ 28 h 30"/>
                <a:gd name="T58" fmla="*/ 11 w 22"/>
                <a:gd name="T59" fmla="*/ 30 h 30"/>
                <a:gd name="T60" fmla="*/ 7 w 22"/>
                <a:gd name="T61" fmla="*/ 29 h 30"/>
                <a:gd name="T62" fmla="*/ 4 w 22"/>
                <a:gd name="T63" fmla="*/ 29 h 30"/>
                <a:gd name="T64" fmla="*/ 3 w 22"/>
                <a:gd name="T65" fmla="*/ 29 h 30"/>
                <a:gd name="T66" fmla="*/ 2 w 22"/>
                <a:gd name="T67" fmla="*/ 30 h 30"/>
                <a:gd name="T68" fmla="*/ 1 w 22"/>
                <a:gd name="T69" fmla="*/ 30 h 30"/>
                <a:gd name="T70" fmla="*/ 0 w 22"/>
                <a:gd name="T71" fmla="*/ 21 h 30"/>
                <a:gd name="T72" fmla="*/ 1 w 22"/>
                <a:gd name="T73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2" h="30">
                  <a:moveTo>
                    <a:pt x="1" y="21"/>
                  </a:moveTo>
                  <a:cubicBezTo>
                    <a:pt x="2" y="23"/>
                    <a:pt x="3" y="24"/>
                    <a:pt x="4" y="26"/>
                  </a:cubicBezTo>
                  <a:cubicBezTo>
                    <a:pt x="6" y="28"/>
                    <a:pt x="8" y="29"/>
                    <a:pt x="11" y="29"/>
                  </a:cubicBezTo>
                  <a:cubicBezTo>
                    <a:pt x="13" y="29"/>
                    <a:pt x="14" y="28"/>
                    <a:pt x="15" y="27"/>
                  </a:cubicBezTo>
                  <a:cubicBezTo>
                    <a:pt x="16" y="26"/>
                    <a:pt x="17" y="25"/>
                    <a:pt x="17" y="24"/>
                  </a:cubicBezTo>
                  <a:cubicBezTo>
                    <a:pt x="17" y="22"/>
                    <a:pt x="16" y="21"/>
                    <a:pt x="15" y="20"/>
                  </a:cubicBezTo>
                  <a:cubicBezTo>
                    <a:pt x="14" y="19"/>
                    <a:pt x="13" y="18"/>
                    <a:pt x="10" y="17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5" y="14"/>
                    <a:pt x="4" y="13"/>
                    <a:pt x="3" y="12"/>
                  </a:cubicBezTo>
                  <a:cubicBezTo>
                    <a:pt x="2" y="11"/>
                    <a:pt x="1" y="9"/>
                    <a:pt x="1" y="8"/>
                  </a:cubicBezTo>
                  <a:cubicBezTo>
                    <a:pt x="1" y="5"/>
                    <a:pt x="2" y="3"/>
                    <a:pt x="4" y="2"/>
                  </a:cubicBezTo>
                  <a:cubicBezTo>
                    <a:pt x="5" y="0"/>
                    <a:pt x="7" y="0"/>
                    <a:pt x="10" y="0"/>
                  </a:cubicBezTo>
                  <a:cubicBezTo>
                    <a:pt x="11" y="0"/>
                    <a:pt x="12" y="0"/>
                    <a:pt x="14" y="0"/>
                  </a:cubicBezTo>
                  <a:cubicBezTo>
                    <a:pt x="16" y="1"/>
                    <a:pt x="16" y="1"/>
                    <a:pt x="17" y="1"/>
                  </a:cubicBezTo>
                  <a:cubicBezTo>
                    <a:pt x="17" y="1"/>
                    <a:pt x="18" y="1"/>
                    <a:pt x="18" y="1"/>
                  </a:cubicBezTo>
                  <a:cubicBezTo>
                    <a:pt x="18" y="1"/>
                    <a:pt x="18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6"/>
                    <a:pt x="17" y="4"/>
                    <a:pt x="16" y="3"/>
                  </a:cubicBezTo>
                  <a:cubicBezTo>
                    <a:pt x="14" y="2"/>
                    <a:pt x="12" y="2"/>
                    <a:pt x="10" y="2"/>
                  </a:cubicBezTo>
                  <a:cubicBezTo>
                    <a:pt x="9" y="2"/>
                    <a:pt x="8" y="2"/>
                    <a:pt x="7" y="3"/>
                  </a:cubicBezTo>
                  <a:cubicBezTo>
                    <a:pt x="6" y="3"/>
                    <a:pt x="5" y="4"/>
                    <a:pt x="5" y="6"/>
                  </a:cubicBezTo>
                  <a:cubicBezTo>
                    <a:pt x="5" y="7"/>
                    <a:pt x="6" y="8"/>
                    <a:pt x="7" y="8"/>
                  </a:cubicBezTo>
                  <a:cubicBezTo>
                    <a:pt x="7" y="9"/>
                    <a:pt x="8" y="10"/>
                    <a:pt x="10" y="1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7" y="15"/>
                    <a:pt x="19" y="16"/>
                    <a:pt x="20" y="18"/>
                  </a:cubicBezTo>
                  <a:cubicBezTo>
                    <a:pt x="21" y="19"/>
                    <a:pt x="22" y="20"/>
                    <a:pt x="22" y="22"/>
                  </a:cubicBezTo>
                  <a:cubicBezTo>
                    <a:pt x="22" y="24"/>
                    <a:pt x="21" y="26"/>
                    <a:pt x="19" y="28"/>
                  </a:cubicBezTo>
                  <a:cubicBezTo>
                    <a:pt x="17" y="29"/>
                    <a:pt x="14" y="30"/>
                    <a:pt x="11" y="30"/>
                  </a:cubicBezTo>
                  <a:cubicBezTo>
                    <a:pt x="10" y="30"/>
                    <a:pt x="8" y="30"/>
                    <a:pt x="7" y="29"/>
                  </a:cubicBezTo>
                  <a:cubicBezTo>
                    <a:pt x="5" y="29"/>
                    <a:pt x="4" y="29"/>
                    <a:pt x="4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2" y="29"/>
                    <a:pt x="2" y="30"/>
                    <a:pt x="2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1"/>
                    <a:pt x="0" y="21"/>
                    <a:pt x="0" y="21"/>
                  </a:cubicBezTo>
                  <a:lnTo>
                    <a:pt x="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42" name="Freeform 30"/>
            <p:cNvSpPr>
              <a:spLocks/>
            </p:cNvSpPr>
            <p:nvPr/>
          </p:nvSpPr>
          <p:spPr bwMode="auto">
            <a:xfrm>
              <a:off x="4027" y="3654"/>
              <a:ext cx="199" cy="212"/>
            </a:xfrm>
            <a:custGeom>
              <a:avLst/>
              <a:gdLst>
                <a:gd name="T0" fmla="*/ 0 w 28"/>
                <a:gd name="T1" fmla="*/ 0 h 30"/>
                <a:gd name="T2" fmla="*/ 28 w 28"/>
                <a:gd name="T3" fmla="*/ 0 h 30"/>
                <a:gd name="T4" fmla="*/ 28 w 28"/>
                <a:gd name="T5" fmla="*/ 8 h 30"/>
                <a:gd name="T6" fmla="*/ 27 w 28"/>
                <a:gd name="T7" fmla="*/ 8 h 30"/>
                <a:gd name="T8" fmla="*/ 25 w 28"/>
                <a:gd name="T9" fmla="*/ 3 h 30"/>
                <a:gd name="T10" fmla="*/ 19 w 28"/>
                <a:gd name="T11" fmla="*/ 2 h 30"/>
                <a:gd name="T12" fmla="*/ 16 w 28"/>
                <a:gd name="T13" fmla="*/ 2 h 30"/>
                <a:gd name="T14" fmla="*/ 16 w 28"/>
                <a:gd name="T15" fmla="*/ 25 h 30"/>
                <a:gd name="T16" fmla="*/ 17 w 28"/>
                <a:gd name="T17" fmla="*/ 28 h 30"/>
                <a:gd name="T18" fmla="*/ 21 w 28"/>
                <a:gd name="T19" fmla="*/ 29 h 30"/>
                <a:gd name="T20" fmla="*/ 21 w 28"/>
                <a:gd name="T21" fmla="*/ 30 h 30"/>
                <a:gd name="T22" fmla="*/ 7 w 28"/>
                <a:gd name="T23" fmla="*/ 30 h 30"/>
                <a:gd name="T24" fmla="*/ 7 w 28"/>
                <a:gd name="T25" fmla="*/ 29 h 30"/>
                <a:gd name="T26" fmla="*/ 11 w 28"/>
                <a:gd name="T27" fmla="*/ 28 h 30"/>
                <a:gd name="T28" fmla="*/ 11 w 28"/>
                <a:gd name="T29" fmla="*/ 24 h 30"/>
                <a:gd name="T30" fmla="*/ 11 w 28"/>
                <a:gd name="T31" fmla="*/ 2 h 30"/>
                <a:gd name="T32" fmla="*/ 9 w 28"/>
                <a:gd name="T33" fmla="*/ 2 h 30"/>
                <a:gd name="T34" fmla="*/ 3 w 28"/>
                <a:gd name="T35" fmla="*/ 3 h 30"/>
                <a:gd name="T36" fmla="*/ 1 w 28"/>
                <a:gd name="T37" fmla="*/ 8 h 30"/>
                <a:gd name="T38" fmla="*/ 0 w 28"/>
                <a:gd name="T39" fmla="*/ 8 h 30"/>
                <a:gd name="T40" fmla="*/ 0 w 28"/>
                <a:gd name="T4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30">
                  <a:moveTo>
                    <a:pt x="0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6"/>
                    <a:pt x="25" y="4"/>
                    <a:pt x="25" y="3"/>
                  </a:cubicBezTo>
                  <a:cubicBezTo>
                    <a:pt x="24" y="3"/>
                    <a:pt x="22" y="2"/>
                    <a:pt x="19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6" y="27"/>
                    <a:pt x="17" y="28"/>
                    <a:pt x="17" y="28"/>
                  </a:cubicBezTo>
                  <a:cubicBezTo>
                    <a:pt x="18" y="28"/>
                    <a:pt x="19" y="29"/>
                    <a:pt x="21" y="2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9" y="29"/>
                    <a:pt x="10" y="28"/>
                    <a:pt x="11" y="28"/>
                  </a:cubicBezTo>
                  <a:cubicBezTo>
                    <a:pt x="11" y="27"/>
                    <a:pt x="11" y="26"/>
                    <a:pt x="11" y="24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6" y="2"/>
                    <a:pt x="4" y="3"/>
                    <a:pt x="3" y="3"/>
                  </a:cubicBezTo>
                  <a:cubicBezTo>
                    <a:pt x="2" y="4"/>
                    <a:pt x="1" y="5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43" name="Freeform 31"/>
            <p:cNvSpPr>
              <a:spLocks noEditPoints="1"/>
            </p:cNvSpPr>
            <p:nvPr/>
          </p:nvSpPr>
          <p:spPr bwMode="auto">
            <a:xfrm>
              <a:off x="4211" y="3654"/>
              <a:ext cx="235" cy="212"/>
            </a:xfrm>
            <a:custGeom>
              <a:avLst/>
              <a:gdLst>
                <a:gd name="T0" fmla="*/ 0 w 33"/>
                <a:gd name="T1" fmla="*/ 30 h 30"/>
                <a:gd name="T2" fmla="*/ 0 w 33"/>
                <a:gd name="T3" fmla="*/ 29 h 30"/>
                <a:gd name="T4" fmla="*/ 3 w 33"/>
                <a:gd name="T5" fmla="*/ 28 h 30"/>
                <a:gd name="T6" fmla="*/ 6 w 33"/>
                <a:gd name="T7" fmla="*/ 22 h 30"/>
                <a:gd name="T8" fmla="*/ 16 w 33"/>
                <a:gd name="T9" fmla="*/ 0 h 30"/>
                <a:gd name="T10" fmla="*/ 17 w 33"/>
                <a:gd name="T11" fmla="*/ 0 h 30"/>
                <a:gd name="T12" fmla="*/ 29 w 33"/>
                <a:gd name="T13" fmla="*/ 25 h 30"/>
                <a:gd name="T14" fmla="*/ 31 w 33"/>
                <a:gd name="T15" fmla="*/ 28 h 30"/>
                <a:gd name="T16" fmla="*/ 33 w 33"/>
                <a:gd name="T17" fmla="*/ 29 h 30"/>
                <a:gd name="T18" fmla="*/ 33 w 33"/>
                <a:gd name="T19" fmla="*/ 30 h 30"/>
                <a:gd name="T20" fmla="*/ 21 w 33"/>
                <a:gd name="T21" fmla="*/ 30 h 30"/>
                <a:gd name="T22" fmla="*/ 21 w 33"/>
                <a:gd name="T23" fmla="*/ 29 h 30"/>
                <a:gd name="T24" fmla="*/ 24 w 33"/>
                <a:gd name="T25" fmla="*/ 28 h 30"/>
                <a:gd name="T26" fmla="*/ 24 w 33"/>
                <a:gd name="T27" fmla="*/ 27 h 30"/>
                <a:gd name="T28" fmla="*/ 24 w 33"/>
                <a:gd name="T29" fmla="*/ 26 h 30"/>
                <a:gd name="T30" fmla="*/ 24 w 33"/>
                <a:gd name="T31" fmla="*/ 24 h 30"/>
                <a:gd name="T32" fmla="*/ 22 w 33"/>
                <a:gd name="T33" fmla="*/ 20 h 30"/>
                <a:gd name="T34" fmla="*/ 9 w 33"/>
                <a:gd name="T35" fmla="*/ 20 h 30"/>
                <a:gd name="T36" fmla="*/ 6 w 33"/>
                <a:gd name="T37" fmla="*/ 25 h 30"/>
                <a:gd name="T38" fmla="*/ 6 w 33"/>
                <a:gd name="T39" fmla="*/ 27 h 30"/>
                <a:gd name="T40" fmla="*/ 7 w 33"/>
                <a:gd name="T41" fmla="*/ 28 h 30"/>
                <a:gd name="T42" fmla="*/ 9 w 33"/>
                <a:gd name="T43" fmla="*/ 29 h 30"/>
                <a:gd name="T44" fmla="*/ 9 w 33"/>
                <a:gd name="T45" fmla="*/ 30 h 30"/>
                <a:gd name="T46" fmla="*/ 0 w 33"/>
                <a:gd name="T47" fmla="*/ 30 h 30"/>
                <a:gd name="T48" fmla="*/ 21 w 33"/>
                <a:gd name="T49" fmla="*/ 18 h 30"/>
                <a:gd name="T50" fmla="*/ 15 w 33"/>
                <a:gd name="T51" fmla="*/ 6 h 30"/>
                <a:gd name="T52" fmla="*/ 10 w 33"/>
                <a:gd name="T53" fmla="*/ 18 h 30"/>
                <a:gd name="T54" fmla="*/ 21 w 33"/>
                <a:gd name="T55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3" h="30">
                  <a:moveTo>
                    <a:pt x="0" y="30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" y="29"/>
                    <a:pt x="2" y="28"/>
                    <a:pt x="3" y="28"/>
                  </a:cubicBezTo>
                  <a:cubicBezTo>
                    <a:pt x="3" y="27"/>
                    <a:pt x="4" y="25"/>
                    <a:pt x="6" y="22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30" y="27"/>
                    <a:pt x="31" y="28"/>
                    <a:pt x="31" y="28"/>
                  </a:cubicBezTo>
                  <a:cubicBezTo>
                    <a:pt x="31" y="28"/>
                    <a:pt x="32" y="29"/>
                    <a:pt x="33" y="29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2" y="29"/>
                    <a:pt x="23" y="29"/>
                    <a:pt x="24" y="28"/>
                  </a:cubicBezTo>
                  <a:cubicBezTo>
                    <a:pt x="24" y="28"/>
                    <a:pt x="24" y="28"/>
                    <a:pt x="24" y="27"/>
                  </a:cubicBezTo>
                  <a:cubicBezTo>
                    <a:pt x="24" y="27"/>
                    <a:pt x="24" y="27"/>
                    <a:pt x="24" y="26"/>
                  </a:cubicBezTo>
                  <a:cubicBezTo>
                    <a:pt x="24" y="26"/>
                    <a:pt x="24" y="25"/>
                    <a:pt x="24" y="24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7" y="23"/>
                    <a:pt x="7" y="25"/>
                    <a:pt x="6" y="25"/>
                  </a:cubicBezTo>
                  <a:cubicBezTo>
                    <a:pt x="6" y="26"/>
                    <a:pt x="6" y="27"/>
                    <a:pt x="6" y="27"/>
                  </a:cubicBezTo>
                  <a:cubicBezTo>
                    <a:pt x="6" y="28"/>
                    <a:pt x="6" y="28"/>
                    <a:pt x="7" y="28"/>
                  </a:cubicBezTo>
                  <a:cubicBezTo>
                    <a:pt x="7" y="29"/>
                    <a:pt x="8" y="29"/>
                    <a:pt x="9" y="29"/>
                  </a:cubicBezTo>
                  <a:cubicBezTo>
                    <a:pt x="9" y="30"/>
                    <a:pt x="9" y="30"/>
                    <a:pt x="9" y="30"/>
                  </a:cubicBezTo>
                  <a:lnTo>
                    <a:pt x="0" y="30"/>
                  </a:lnTo>
                  <a:close/>
                  <a:moveTo>
                    <a:pt x="21" y="18"/>
                  </a:moveTo>
                  <a:cubicBezTo>
                    <a:pt x="15" y="6"/>
                    <a:pt x="15" y="6"/>
                    <a:pt x="15" y="6"/>
                  </a:cubicBezTo>
                  <a:cubicBezTo>
                    <a:pt x="10" y="18"/>
                    <a:pt x="10" y="18"/>
                    <a:pt x="10" y="18"/>
                  </a:cubicBezTo>
                  <a:lnTo>
                    <a:pt x="2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44" name="Freeform 32"/>
            <p:cNvSpPr>
              <a:spLocks/>
            </p:cNvSpPr>
            <p:nvPr/>
          </p:nvSpPr>
          <p:spPr bwMode="auto">
            <a:xfrm>
              <a:off x="4432" y="3654"/>
              <a:ext cx="198" cy="212"/>
            </a:xfrm>
            <a:custGeom>
              <a:avLst/>
              <a:gdLst>
                <a:gd name="T0" fmla="*/ 0 w 28"/>
                <a:gd name="T1" fmla="*/ 0 h 30"/>
                <a:gd name="T2" fmla="*/ 28 w 28"/>
                <a:gd name="T3" fmla="*/ 0 h 30"/>
                <a:gd name="T4" fmla="*/ 28 w 28"/>
                <a:gd name="T5" fmla="*/ 8 h 30"/>
                <a:gd name="T6" fmla="*/ 27 w 28"/>
                <a:gd name="T7" fmla="*/ 8 h 30"/>
                <a:gd name="T8" fmla="*/ 25 w 28"/>
                <a:gd name="T9" fmla="*/ 3 h 30"/>
                <a:gd name="T10" fmla="*/ 19 w 28"/>
                <a:gd name="T11" fmla="*/ 2 h 30"/>
                <a:gd name="T12" fmla="*/ 16 w 28"/>
                <a:gd name="T13" fmla="*/ 2 h 30"/>
                <a:gd name="T14" fmla="*/ 16 w 28"/>
                <a:gd name="T15" fmla="*/ 25 h 30"/>
                <a:gd name="T16" fmla="*/ 17 w 28"/>
                <a:gd name="T17" fmla="*/ 28 h 30"/>
                <a:gd name="T18" fmla="*/ 21 w 28"/>
                <a:gd name="T19" fmla="*/ 29 h 30"/>
                <a:gd name="T20" fmla="*/ 21 w 28"/>
                <a:gd name="T21" fmla="*/ 30 h 30"/>
                <a:gd name="T22" fmla="*/ 7 w 28"/>
                <a:gd name="T23" fmla="*/ 30 h 30"/>
                <a:gd name="T24" fmla="*/ 7 w 28"/>
                <a:gd name="T25" fmla="*/ 29 h 30"/>
                <a:gd name="T26" fmla="*/ 11 w 28"/>
                <a:gd name="T27" fmla="*/ 28 h 30"/>
                <a:gd name="T28" fmla="*/ 11 w 28"/>
                <a:gd name="T29" fmla="*/ 24 h 30"/>
                <a:gd name="T30" fmla="*/ 11 w 28"/>
                <a:gd name="T31" fmla="*/ 2 h 30"/>
                <a:gd name="T32" fmla="*/ 9 w 28"/>
                <a:gd name="T33" fmla="*/ 2 h 30"/>
                <a:gd name="T34" fmla="*/ 3 w 28"/>
                <a:gd name="T35" fmla="*/ 3 h 30"/>
                <a:gd name="T36" fmla="*/ 1 w 28"/>
                <a:gd name="T37" fmla="*/ 8 h 30"/>
                <a:gd name="T38" fmla="*/ 0 w 28"/>
                <a:gd name="T39" fmla="*/ 8 h 30"/>
                <a:gd name="T40" fmla="*/ 0 w 28"/>
                <a:gd name="T4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30">
                  <a:moveTo>
                    <a:pt x="0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6"/>
                    <a:pt x="25" y="4"/>
                    <a:pt x="25" y="3"/>
                  </a:cubicBezTo>
                  <a:cubicBezTo>
                    <a:pt x="24" y="3"/>
                    <a:pt x="22" y="2"/>
                    <a:pt x="19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6" y="27"/>
                    <a:pt x="17" y="28"/>
                    <a:pt x="17" y="28"/>
                  </a:cubicBezTo>
                  <a:cubicBezTo>
                    <a:pt x="18" y="28"/>
                    <a:pt x="19" y="29"/>
                    <a:pt x="21" y="2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9" y="29"/>
                    <a:pt x="10" y="28"/>
                    <a:pt x="11" y="28"/>
                  </a:cubicBezTo>
                  <a:cubicBezTo>
                    <a:pt x="11" y="27"/>
                    <a:pt x="11" y="26"/>
                    <a:pt x="11" y="24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6" y="2"/>
                    <a:pt x="4" y="3"/>
                    <a:pt x="3" y="3"/>
                  </a:cubicBezTo>
                  <a:cubicBezTo>
                    <a:pt x="2" y="4"/>
                    <a:pt x="1" y="5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45" name="Freeform 33"/>
            <p:cNvSpPr>
              <a:spLocks/>
            </p:cNvSpPr>
            <p:nvPr/>
          </p:nvSpPr>
          <p:spPr bwMode="auto">
            <a:xfrm>
              <a:off x="4652" y="3654"/>
              <a:ext cx="199" cy="212"/>
            </a:xfrm>
            <a:custGeom>
              <a:avLst/>
              <a:gdLst>
                <a:gd name="T0" fmla="*/ 0 w 28"/>
                <a:gd name="T1" fmla="*/ 29 h 30"/>
                <a:gd name="T2" fmla="*/ 3 w 28"/>
                <a:gd name="T3" fmla="*/ 28 h 30"/>
                <a:gd name="T4" fmla="*/ 4 w 28"/>
                <a:gd name="T5" fmla="*/ 25 h 30"/>
                <a:gd name="T6" fmla="*/ 4 w 28"/>
                <a:gd name="T7" fmla="*/ 5 h 30"/>
                <a:gd name="T8" fmla="*/ 3 w 28"/>
                <a:gd name="T9" fmla="*/ 2 h 30"/>
                <a:gd name="T10" fmla="*/ 0 w 28"/>
                <a:gd name="T11" fmla="*/ 1 h 30"/>
                <a:gd name="T12" fmla="*/ 0 w 28"/>
                <a:gd name="T13" fmla="*/ 0 h 30"/>
                <a:gd name="T14" fmla="*/ 26 w 28"/>
                <a:gd name="T15" fmla="*/ 0 h 30"/>
                <a:gd name="T16" fmla="*/ 26 w 28"/>
                <a:gd name="T17" fmla="*/ 7 h 30"/>
                <a:gd name="T18" fmla="*/ 24 w 28"/>
                <a:gd name="T19" fmla="*/ 7 h 30"/>
                <a:gd name="T20" fmla="*/ 23 w 28"/>
                <a:gd name="T21" fmla="*/ 3 h 30"/>
                <a:gd name="T22" fmla="*/ 17 w 28"/>
                <a:gd name="T23" fmla="*/ 2 h 30"/>
                <a:gd name="T24" fmla="*/ 10 w 28"/>
                <a:gd name="T25" fmla="*/ 2 h 30"/>
                <a:gd name="T26" fmla="*/ 9 w 28"/>
                <a:gd name="T27" fmla="*/ 2 h 30"/>
                <a:gd name="T28" fmla="*/ 9 w 28"/>
                <a:gd name="T29" fmla="*/ 4 h 30"/>
                <a:gd name="T30" fmla="*/ 9 w 28"/>
                <a:gd name="T31" fmla="*/ 13 h 30"/>
                <a:gd name="T32" fmla="*/ 16 w 28"/>
                <a:gd name="T33" fmla="*/ 13 h 30"/>
                <a:gd name="T34" fmla="*/ 20 w 28"/>
                <a:gd name="T35" fmla="*/ 13 h 30"/>
                <a:gd name="T36" fmla="*/ 22 w 28"/>
                <a:gd name="T37" fmla="*/ 9 h 30"/>
                <a:gd name="T38" fmla="*/ 23 w 28"/>
                <a:gd name="T39" fmla="*/ 9 h 30"/>
                <a:gd name="T40" fmla="*/ 23 w 28"/>
                <a:gd name="T41" fmla="*/ 19 h 30"/>
                <a:gd name="T42" fmla="*/ 22 w 28"/>
                <a:gd name="T43" fmla="*/ 19 h 30"/>
                <a:gd name="T44" fmla="*/ 20 w 28"/>
                <a:gd name="T45" fmla="*/ 16 h 30"/>
                <a:gd name="T46" fmla="*/ 16 w 28"/>
                <a:gd name="T47" fmla="*/ 15 h 30"/>
                <a:gd name="T48" fmla="*/ 9 w 28"/>
                <a:gd name="T49" fmla="*/ 15 h 30"/>
                <a:gd name="T50" fmla="*/ 9 w 28"/>
                <a:gd name="T51" fmla="*/ 26 h 30"/>
                <a:gd name="T52" fmla="*/ 10 w 28"/>
                <a:gd name="T53" fmla="*/ 28 h 30"/>
                <a:gd name="T54" fmla="*/ 15 w 28"/>
                <a:gd name="T55" fmla="*/ 28 h 30"/>
                <a:gd name="T56" fmla="*/ 23 w 28"/>
                <a:gd name="T57" fmla="*/ 27 h 30"/>
                <a:gd name="T58" fmla="*/ 27 w 28"/>
                <a:gd name="T59" fmla="*/ 22 h 30"/>
                <a:gd name="T60" fmla="*/ 28 w 28"/>
                <a:gd name="T61" fmla="*/ 22 h 30"/>
                <a:gd name="T62" fmla="*/ 26 w 28"/>
                <a:gd name="T63" fmla="*/ 30 h 30"/>
                <a:gd name="T64" fmla="*/ 0 w 28"/>
                <a:gd name="T65" fmla="*/ 30 h 30"/>
                <a:gd name="T66" fmla="*/ 0 w 28"/>
                <a:gd name="T67" fmla="*/ 2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30">
                  <a:moveTo>
                    <a:pt x="0" y="29"/>
                  </a:moveTo>
                  <a:cubicBezTo>
                    <a:pt x="1" y="29"/>
                    <a:pt x="3" y="28"/>
                    <a:pt x="3" y="28"/>
                  </a:cubicBezTo>
                  <a:cubicBezTo>
                    <a:pt x="4" y="28"/>
                    <a:pt x="4" y="27"/>
                    <a:pt x="4" y="2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4" y="3"/>
                    <a:pt x="3" y="2"/>
                  </a:cubicBezTo>
                  <a:cubicBezTo>
                    <a:pt x="3" y="2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5"/>
                    <a:pt x="23" y="3"/>
                    <a:pt x="23" y="3"/>
                  </a:cubicBezTo>
                  <a:cubicBezTo>
                    <a:pt x="22" y="2"/>
                    <a:pt x="20" y="2"/>
                    <a:pt x="17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3"/>
                    <a:pt x="9" y="3"/>
                    <a:pt x="9" y="4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8" y="13"/>
                    <a:pt x="20" y="13"/>
                    <a:pt x="20" y="13"/>
                  </a:cubicBezTo>
                  <a:cubicBezTo>
                    <a:pt x="21" y="12"/>
                    <a:pt x="21" y="11"/>
                    <a:pt x="22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1" y="18"/>
                    <a:pt x="21" y="17"/>
                    <a:pt x="20" y="16"/>
                  </a:cubicBezTo>
                  <a:cubicBezTo>
                    <a:pt x="20" y="15"/>
                    <a:pt x="18" y="15"/>
                    <a:pt x="16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7"/>
                    <a:pt x="9" y="28"/>
                    <a:pt x="10" y="28"/>
                  </a:cubicBezTo>
                  <a:cubicBezTo>
                    <a:pt x="10" y="28"/>
                    <a:pt x="12" y="28"/>
                    <a:pt x="15" y="28"/>
                  </a:cubicBezTo>
                  <a:cubicBezTo>
                    <a:pt x="19" y="28"/>
                    <a:pt x="21" y="28"/>
                    <a:pt x="23" y="27"/>
                  </a:cubicBezTo>
                  <a:cubicBezTo>
                    <a:pt x="24" y="26"/>
                    <a:pt x="26" y="25"/>
                    <a:pt x="27" y="22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0" y="30"/>
                    <a:pt x="0" y="30"/>
                    <a:pt x="0" y="30"/>
                  </a:cubicBezTo>
                  <a:lnTo>
                    <a:pt x="0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46" name="Freeform 34"/>
            <p:cNvSpPr>
              <a:spLocks noEditPoints="1"/>
            </p:cNvSpPr>
            <p:nvPr/>
          </p:nvSpPr>
          <p:spPr bwMode="auto">
            <a:xfrm>
              <a:off x="1598" y="3980"/>
              <a:ext cx="227" cy="220"/>
            </a:xfrm>
            <a:custGeom>
              <a:avLst/>
              <a:gdLst>
                <a:gd name="T0" fmla="*/ 5 w 32"/>
                <a:gd name="T1" fmla="*/ 4 h 31"/>
                <a:gd name="T2" fmla="*/ 16 w 32"/>
                <a:gd name="T3" fmla="*/ 0 h 31"/>
                <a:gd name="T4" fmla="*/ 27 w 32"/>
                <a:gd name="T5" fmla="*/ 4 h 31"/>
                <a:gd name="T6" fmla="*/ 32 w 32"/>
                <a:gd name="T7" fmla="*/ 16 h 31"/>
                <a:gd name="T8" fmla="*/ 27 w 32"/>
                <a:gd name="T9" fmla="*/ 27 h 31"/>
                <a:gd name="T10" fmla="*/ 16 w 32"/>
                <a:gd name="T11" fmla="*/ 31 h 31"/>
                <a:gd name="T12" fmla="*/ 5 w 32"/>
                <a:gd name="T13" fmla="*/ 27 h 31"/>
                <a:gd name="T14" fmla="*/ 0 w 32"/>
                <a:gd name="T15" fmla="*/ 16 h 31"/>
                <a:gd name="T16" fmla="*/ 5 w 32"/>
                <a:gd name="T17" fmla="*/ 4 h 31"/>
                <a:gd name="T18" fmla="*/ 9 w 32"/>
                <a:gd name="T19" fmla="*/ 26 h 31"/>
                <a:gd name="T20" fmla="*/ 16 w 32"/>
                <a:gd name="T21" fmla="*/ 29 h 31"/>
                <a:gd name="T22" fmla="*/ 23 w 32"/>
                <a:gd name="T23" fmla="*/ 26 h 31"/>
                <a:gd name="T24" fmla="*/ 27 w 32"/>
                <a:gd name="T25" fmla="*/ 16 h 31"/>
                <a:gd name="T26" fmla="*/ 23 w 32"/>
                <a:gd name="T27" fmla="*/ 5 h 31"/>
                <a:gd name="T28" fmla="*/ 16 w 32"/>
                <a:gd name="T29" fmla="*/ 2 h 31"/>
                <a:gd name="T30" fmla="*/ 9 w 32"/>
                <a:gd name="T31" fmla="*/ 5 h 31"/>
                <a:gd name="T32" fmla="*/ 6 w 32"/>
                <a:gd name="T33" fmla="*/ 16 h 31"/>
                <a:gd name="T34" fmla="*/ 9 w 32"/>
                <a:gd name="T35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1">
                  <a:moveTo>
                    <a:pt x="5" y="4"/>
                  </a:moveTo>
                  <a:cubicBezTo>
                    <a:pt x="8" y="2"/>
                    <a:pt x="12" y="0"/>
                    <a:pt x="16" y="0"/>
                  </a:cubicBezTo>
                  <a:cubicBezTo>
                    <a:pt x="20" y="0"/>
                    <a:pt x="24" y="2"/>
                    <a:pt x="27" y="4"/>
                  </a:cubicBezTo>
                  <a:cubicBezTo>
                    <a:pt x="30" y="7"/>
                    <a:pt x="32" y="11"/>
                    <a:pt x="32" y="16"/>
                  </a:cubicBezTo>
                  <a:cubicBezTo>
                    <a:pt x="32" y="20"/>
                    <a:pt x="30" y="24"/>
                    <a:pt x="27" y="27"/>
                  </a:cubicBezTo>
                  <a:cubicBezTo>
                    <a:pt x="24" y="30"/>
                    <a:pt x="20" y="31"/>
                    <a:pt x="16" y="31"/>
                  </a:cubicBezTo>
                  <a:cubicBezTo>
                    <a:pt x="12" y="31"/>
                    <a:pt x="8" y="30"/>
                    <a:pt x="5" y="27"/>
                  </a:cubicBezTo>
                  <a:cubicBezTo>
                    <a:pt x="2" y="24"/>
                    <a:pt x="0" y="20"/>
                    <a:pt x="0" y="16"/>
                  </a:cubicBezTo>
                  <a:cubicBezTo>
                    <a:pt x="0" y="11"/>
                    <a:pt x="2" y="7"/>
                    <a:pt x="5" y="4"/>
                  </a:cubicBezTo>
                  <a:close/>
                  <a:moveTo>
                    <a:pt x="9" y="26"/>
                  </a:moveTo>
                  <a:cubicBezTo>
                    <a:pt x="11" y="28"/>
                    <a:pt x="13" y="29"/>
                    <a:pt x="16" y="29"/>
                  </a:cubicBezTo>
                  <a:cubicBezTo>
                    <a:pt x="19" y="29"/>
                    <a:pt x="21" y="28"/>
                    <a:pt x="23" y="26"/>
                  </a:cubicBezTo>
                  <a:cubicBezTo>
                    <a:pt x="26" y="24"/>
                    <a:pt x="27" y="20"/>
                    <a:pt x="27" y="16"/>
                  </a:cubicBezTo>
                  <a:cubicBezTo>
                    <a:pt x="27" y="11"/>
                    <a:pt x="26" y="7"/>
                    <a:pt x="23" y="5"/>
                  </a:cubicBezTo>
                  <a:cubicBezTo>
                    <a:pt x="21" y="3"/>
                    <a:pt x="19" y="2"/>
                    <a:pt x="16" y="2"/>
                  </a:cubicBezTo>
                  <a:cubicBezTo>
                    <a:pt x="13" y="2"/>
                    <a:pt x="11" y="3"/>
                    <a:pt x="9" y="5"/>
                  </a:cubicBezTo>
                  <a:cubicBezTo>
                    <a:pt x="7" y="8"/>
                    <a:pt x="6" y="11"/>
                    <a:pt x="6" y="16"/>
                  </a:cubicBezTo>
                  <a:cubicBezTo>
                    <a:pt x="6" y="20"/>
                    <a:pt x="7" y="24"/>
                    <a:pt x="9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47" name="Freeform 35"/>
            <p:cNvSpPr>
              <a:spLocks/>
            </p:cNvSpPr>
            <p:nvPr/>
          </p:nvSpPr>
          <p:spPr bwMode="auto">
            <a:xfrm>
              <a:off x="1854" y="3987"/>
              <a:ext cx="184" cy="206"/>
            </a:xfrm>
            <a:custGeom>
              <a:avLst/>
              <a:gdLst>
                <a:gd name="T0" fmla="*/ 0 w 26"/>
                <a:gd name="T1" fmla="*/ 28 h 29"/>
                <a:gd name="T2" fmla="*/ 4 w 26"/>
                <a:gd name="T3" fmla="*/ 28 h 29"/>
                <a:gd name="T4" fmla="*/ 4 w 26"/>
                <a:gd name="T5" fmla="*/ 24 h 29"/>
                <a:gd name="T6" fmla="*/ 4 w 26"/>
                <a:gd name="T7" fmla="*/ 5 h 29"/>
                <a:gd name="T8" fmla="*/ 4 w 26"/>
                <a:gd name="T9" fmla="*/ 2 h 29"/>
                <a:gd name="T10" fmla="*/ 0 w 26"/>
                <a:gd name="T11" fmla="*/ 1 h 29"/>
                <a:gd name="T12" fmla="*/ 0 w 26"/>
                <a:gd name="T13" fmla="*/ 0 h 29"/>
                <a:gd name="T14" fmla="*/ 26 w 26"/>
                <a:gd name="T15" fmla="*/ 0 h 29"/>
                <a:gd name="T16" fmla="*/ 26 w 26"/>
                <a:gd name="T17" fmla="*/ 6 h 29"/>
                <a:gd name="T18" fmla="*/ 25 w 26"/>
                <a:gd name="T19" fmla="*/ 6 h 29"/>
                <a:gd name="T20" fmla="*/ 23 w 26"/>
                <a:gd name="T21" fmla="*/ 2 h 29"/>
                <a:gd name="T22" fmla="*/ 18 w 26"/>
                <a:gd name="T23" fmla="*/ 2 h 29"/>
                <a:gd name="T24" fmla="*/ 11 w 26"/>
                <a:gd name="T25" fmla="*/ 2 h 29"/>
                <a:gd name="T26" fmla="*/ 10 w 26"/>
                <a:gd name="T27" fmla="*/ 2 h 29"/>
                <a:gd name="T28" fmla="*/ 9 w 26"/>
                <a:gd name="T29" fmla="*/ 3 h 29"/>
                <a:gd name="T30" fmla="*/ 9 w 26"/>
                <a:gd name="T31" fmla="*/ 13 h 29"/>
                <a:gd name="T32" fmla="*/ 16 w 26"/>
                <a:gd name="T33" fmla="*/ 13 h 29"/>
                <a:gd name="T34" fmla="*/ 20 w 26"/>
                <a:gd name="T35" fmla="*/ 12 h 29"/>
                <a:gd name="T36" fmla="*/ 22 w 26"/>
                <a:gd name="T37" fmla="*/ 9 h 29"/>
                <a:gd name="T38" fmla="*/ 23 w 26"/>
                <a:gd name="T39" fmla="*/ 9 h 29"/>
                <a:gd name="T40" fmla="*/ 23 w 26"/>
                <a:gd name="T41" fmla="*/ 19 h 29"/>
                <a:gd name="T42" fmla="*/ 22 w 26"/>
                <a:gd name="T43" fmla="*/ 19 h 29"/>
                <a:gd name="T44" fmla="*/ 20 w 26"/>
                <a:gd name="T45" fmla="*/ 16 h 29"/>
                <a:gd name="T46" fmla="*/ 16 w 26"/>
                <a:gd name="T47" fmla="*/ 15 h 29"/>
                <a:gd name="T48" fmla="*/ 9 w 26"/>
                <a:gd name="T49" fmla="*/ 15 h 29"/>
                <a:gd name="T50" fmla="*/ 9 w 26"/>
                <a:gd name="T51" fmla="*/ 25 h 29"/>
                <a:gd name="T52" fmla="*/ 10 w 26"/>
                <a:gd name="T53" fmla="*/ 28 h 29"/>
                <a:gd name="T54" fmla="*/ 14 w 26"/>
                <a:gd name="T55" fmla="*/ 28 h 29"/>
                <a:gd name="T56" fmla="*/ 14 w 26"/>
                <a:gd name="T57" fmla="*/ 29 h 29"/>
                <a:gd name="T58" fmla="*/ 0 w 26"/>
                <a:gd name="T59" fmla="*/ 29 h 29"/>
                <a:gd name="T60" fmla="*/ 0 w 26"/>
                <a:gd name="T61" fmla="*/ 2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" h="29">
                  <a:moveTo>
                    <a:pt x="0" y="28"/>
                  </a:moveTo>
                  <a:cubicBezTo>
                    <a:pt x="2" y="28"/>
                    <a:pt x="3" y="28"/>
                    <a:pt x="4" y="28"/>
                  </a:cubicBezTo>
                  <a:cubicBezTo>
                    <a:pt x="4" y="27"/>
                    <a:pt x="4" y="26"/>
                    <a:pt x="4" y="2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3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4"/>
                    <a:pt x="24" y="3"/>
                    <a:pt x="23" y="2"/>
                  </a:cubicBezTo>
                  <a:cubicBezTo>
                    <a:pt x="22" y="2"/>
                    <a:pt x="20" y="2"/>
                    <a:pt x="18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9" y="3"/>
                    <a:pt x="9" y="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8" y="13"/>
                    <a:pt x="20" y="13"/>
                    <a:pt x="20" y="12"/>
                  </a:cubicBezTo>
                  <a:cubicBezTo>
                    <a:pt x="21" y="12"/>
                    <a:pt x="21" y="11"/>
                    <a:pt x="22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1" y="17"/>
                    <a:pt x="21" y="16"/>
                    <a:pt x="20" y="16"/>
                  </a:cubicBezTo>
                  <a:cubicBezTo>
                    <a:pt x="20" y="15"/>
                    <a:pt x="18" y="15"/>
                    <a:pt x="16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6"/>
                    <a:pt x="10" y="27"/>
                    <a:pt x="10" y="28"/>
                  </a:cubicBezTo>
                  <a:cubicBezTo>
                    <a:pt x="11" y="28"/>
                    <a:pt x="12" y="28"/>
                    <a:pt x="14" y="2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0" y="29"/>
                    <a:pt x="0" y="29"/>
                    <a:pt x="0" y="29"/>
                  </a:cubicBez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48" name="Freeform 36"/>
            <p:cNvSpPr>
              <a:spLocks/>
            </p:cNvSpPr>
            <p:nvPr/>
          </p:nvSpPr>
          <p:spPr bwMode="auto">
            <a:xfrm>
              <a:off x="2159" y="3987"/>
              <a:ext cx="199" cy="206"/>
            </a:xfrm>
            <a:custGeom>
              <a:avLst/>
              <a:gdLst>
                <a:gd name="T0" fmla="*/ 0 w 28"/>
                <a:gd name="T1" fmla="*/ 0 h 29"/>
                <a:gd name="T2" fmla="*/ 28 w 28"/>
                <a:gd name="T3" fmla="*/ 0 h 29"/>
                <a:gd name="T4" fmla="*/ 28 w 28"/>
                <a:gd name="T5" fmla="*/ 8 h 29"/>
                <a:gd name="T6" fmla="*/ 27 w 28"/>
                <a:gd name="T7" fmla="*/ 8 h 29"/>
                <a:gd name="T8" fmla="*/ 25 w 28"/>
                <a:gd name="T9" fmla="*/ 3 h 29"/>
                <a:gd name="T10" fmla="*/ 19 w 28"/>
                <a:gd name="T11" fmla="*/ 2 h 29"/>
                <a:gd name="T12" fmla="*/ 17 w 28"/>
                <a:gd name="T13" fmla="*/ 2 h 29"/>
                <a:gd name="T14" fmla="*/ 17 w 28"/>
                <a:gd name="T15" fmla="*/ 25 h 29"/>
                <a:gd name="T16" fmla="*/ 18 w 28"/>
                <a:gd name="T17" fmla="*/ 28 h 29"/>
                <a:gd name="T18" fmla="*/ 21 w 28"/>
                <a:gd name="T19" fmla="*/ 28 h 29"/>
                <a:gd name="T20" fmla="*/ 21 w 28"/>
                <a:gd name="T21" fmla="*/ 29 h 29"/>
                <a:gd name="T22" fmla="*/ 7 w 28"/>
                <a:gd name="T23" fmla="*/ 29 h 29"/>
                <a:gd name="T24" fmla="*/ 7 w 28"/>
                <a:gd name="T25" fmla="*/ 28 h 29"/>
                <a:gd name="T26" fmla="*/ 11 w 28"/>
                <a:gd name="T27" fmla="*/ 28 h 29"/>
                <a:gd name="T28" fmla="*/ 12 w 28"/>
                <a:gd name="T29" fmla="*/ 24 h 29"/>
                <a:gd name="T30" fmla="*/ 12 w 28"/>
                <a:gd name="T31" fmla="*/ 2 h 29"/>
                <a:gd name="T32" fmla="*/ 9 w 28"/>
                <a:gd name="T33" fmla="*/ 2 h 29"/>
                <a:gd name="T34" fmla="*/ 4 w 28"/>
                <a:gd name="T35" fmla="*/ 3 h 29"/>
                <a:gd name="T36" fmla="*/ 1 w 28"/>
                <a:gd name="T37" fmla="*/ 8 h 29"/>
                <a:gd name="T38" fmla="*/ 0 w 28"/>
                <a:gd name="T39" fmla="*/ 8 h 29"/>
                <a:gd name="T40" fmla="*/ 0 w 28"/>
                <a:gd name="T4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29">
                  <a:moveTo>
                    <a:pt x="0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5"/>
                    <a:pt x="26" y="4"/>
                    <a:pt x="25" y="3"/>
                  </a:cubicBezTo>
                  <a:cubicBezTo>
                    <a:pt x="24" y="2"/>
                    <a:pt x="22" y="2"/>
                    <a:pt x="19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6"/>
                    <a:pt x="17" y="27"/>
                    <a:pt x="18" y="28"/>
                  </a:cubicBezTo>
                  <a:cubicBezTo>
                    <a:pt x="18" y="28"/>
                    <a:pt x="19" y="28"/>
                    <a:pt x="21" y="28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9" y="28"/>
                    <a:pt x="11" y="28"/>
                    <a:pt x="11" y="28"/>
                  </a:cubicBezTo>
                  <a:cubicBezTo>
                    <a:pt x="12" y="27"/>
                    <a:pt x="12" y="26"/>
                    <a:pt x="12" y="2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3" y="4"/>
                    <a:pt x="2" y="5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49" name="Freeform 37"/>
            <p:cNvSpPr>
              <a:spLocks/>
            </p:cNvSpPr>
            <p:nvPr/>
          </p:nvSpPr>
          <p:spPr bwMode="auto">
            <a:xfrm>
              <a:off x="2379" y="3987"/>
              <a:ext cx="235" cy="206"/>
            </a:xfrm>
            <a:custGeom>
              <a:avLst/>
              <a:gdLst>
                <a:gd name="T0" fmla="*/ 0 w 33"/>
                <a:gd name="T1" fmla="*/ 28 h 29"/>
                <a:gd name="T2" fmla="*/ 4 w 33"/>
                <a:gd name="T3" fmla="*/ 28 h 29"/>
                <a:gd name="T4" fmla="*/ 4 w 33"/>
                <a:gd name="T5" fmla="*/ 24 h 29"/>
                <a:gd name="T6" fmla="*/ 4 w 33"/>
                <a:gd name="T7" fmla="*/ 5 h 29"/>
                <a:gd name="T8" fmla="*/ 4 w 33"/>
                <a:gd name="T9" fmla="*/ 2 h 29"/>
                <a:gd name="T10" fmla="*/ 0 w 33"/>
                <a:gd name="T11" fmla="*/ 1 h 29"/>
                <a:gd name="T12" fmla="*/ 0 w 33"/>
                <a:gd name="T13" fmla="*/ 0 h 29"/>
                <a:gd name="T14" fmla="*/ 14 w 33"/>
                <a:gd name="T15" fmla="*/ 0 h 29"/>
                <a:gd name="T16" fmla="*/ 14 w 33"/>
                <a:gd name="T17" fmla="*/ 1 h 29"/>
                <a:gd name="T18" fmla="*/ 10 w 33"/>
                <a:gd name="T19" fmla="*/ 2 h 29"/>
                <a:gd name="T20" fmla="*/ 9 w 33"/>
                <a:gd name="T21" fmla="*/ 5 h 29"/>
                <a:gd name="T22" fmla="*/ 9 w 33"/>
                <a:gd name="T23" fmla="*/ 13 h 29"/>
                <a:gd name="T24" fmla="*/ 24 w 33"/>
                <a:gd name="T25" fmla="*/ 13 h 29"/>
                <a:gd name="T26" fmla="*/ 24 w 33"/>
                <a:gd name="T27" fmla="*/ 5 h 29"/>
                <a:gd name="T28" fmla="*/ 23 w 33"/>
                <a:gd name="T29" fmla="*/ 2 h 29"/>
                <a:gd name="T30" fmla="*/ 20 w 33"/>
                <a:gd name="T31" fmla="*/ 1 h 29"/>
                <a:gd name="T32" fmla="*/ 20 w 33"/>
                <a:gd name="T33" fmla="*/ 0 h 29"/>
                <a:gd name="T34" fmla="*/ 33 w 33"/>
                <a:gd name="T35" fmla="*/ 0 h 29"/>
                <a:gd name="T36" fmla="*/ 33 w 33"/>
                <a:gd name="T37" fmla="*/ 1 h 29"/>
                <a:gd name="T38" fmla="*/ 30 w 33"/>
                <a:gd name="T39" fmla="*/ 2 h 29"/>
                <a:gd name="T40" fmla="*/ 29 w 33"/>
                <a:gd name="T41" fmla="*/ 5 h 29"/>
                <a:gd name="T42" fmla="*/ 29 w 33"/>
                <a:gd name="T43" fmla="*/ 25 h 29"/>
                <a:gd name="T44" fmla="*/ 30 w 33"/>
                <a:gd name="T45" fmla="*/ 28 h 29"/>
                <a:gd name="T46" fmla="*/ 33 w 33"/>
                <a:gd name="T47" fmla="*/ 28 h 29"/>
                <a:gd name="T48" fmla="*/ 33 w 33"/>
                <a:gd name="T49" fmla="*/ 29 h 29"/>
                <a:gd name="T50" fmla="*/ 20 w 33"/>
                <a:gd name="T51" fmla="*/ 29 h 29"/>
                <a:gd name="T52" fmla="*/ 20 w 33"/>
                <a:gd name="T53" fmla="*/ 28 h 29"/>
                <a:gd name="T54" fmla="*/ 23 w 33"/>
                <a:gd name="T55" fmla="*/ 28 h 29"/>
                <a:gd name="T56" fmla="*/ 24 w 33"/>
                <a:gd name="T57" fmla="*/ 24 h 29"/>
                <a:gd name="T58" fmla="*/ 24 w 33"/>
                <a:gd name="T59" fmla="*/ 15 h 29"/>
                <a:gd name="T60" fmla="*/ 9 w 33"/>
                <a:gd name="T61" fmla="*/ 15 h 29"/>
                <a:gd name="T62" fmla="*/ 9 w 33"/>
                <a:gd name="T63" fmla="*/ 25 h 29"/>
                <a:gd name="T64" fmla="*/ 10 w 33"/>
                <a:gd name="T65" fmla="*/ 28 h 29"/>
                <a:gd name="T66" fmla="*/ 14 w 33"/>
                <a:gd name="T67" fmla="*/ 28 h 29"/>
                <a:gd name="T68" fmla="*/ 14 w 33"/>
                <a:gd name="T69" fmla="*/ 29 h 29"/>
                <a:gd name="T70" fmla="*/ 0 w 33"/>
                <a:gd name="T71" fmla="*/ 29 h 29"/>
                <a:gd name="T72" fmla="*/ 0 w 33"/>
                <a:gd name="T73" fmla="*/ 2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3" h="29">
                  <a:moveTo>
                    <a:pt x="0" y="28"/>
                  </a:moveTo>
                  <a:cubicBezTo>
                    <a:pt x="2" y="28"/>
                    <a:pt x="3" y="28"/>
                    <a:pt x="4" y="28"/>
                  </a:cubicBezTo>
                  <a:cubicBezTo>
                    <a:pt x="4" y="27"/>
                    <a:pt x="4" y="26"/>
                    <a:pt x="4" y="2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3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1" y="1"/>
                    <a:pt x="10" y="2"/>
                  </a:cubicBezTo>
                  <a:cubicBezTo>
                    <a:pt x="10" y="2"/>
                    <a:pt x="9" y="3"/>
                    <a:pt x="9" y="5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4" y="3"/>
                    <a:pt x="24" y="2"/>
                    <a:pt x="23" y="2"/>
                  </a:cubicBezTo>
                  <a:cubicBezTo>
                    <a:pt x="23" y="1"/>
                    <a:pt x="22" y="1"/>
                    <a:pt x="20" y="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2" y="1"/>
                    <a:pt x="30" y="1"/>
                    <a:pt x="30" y="2"/>
                  </a:cubicBezTo>
                  <a:cubicBezTo>
                    <a:pt x="29" y="2"/>
                    <a:pt x="29" y="3"/>
                    <a:pt x="29" y="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6"/>
                    <a:pt x="29" y="27"/>
                    <a:pt x="30" y="28"/>
                  </a:cubicBezTo>
                  <a:cubicBezTo>
                    <a:pt x="30" y="28"/>
                    <a:pt x="32" y="28"/>
                    <a:pt x="33" y="28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2" y="28"/>
                    <a:pt x="23" y="28"/>
                    <a:pt x="23" y="28"/>
                  </a:cubicBezTo>
                  <a:cubicBezTo>
                    <a:pt x="24" y="27"/>
                    <a:pt x="24" y="26"/>
                    <a:pt x="24" y="2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6"/>
                    <a:pt x="10" y="27"/>
                    <a:pt x="10" y="28"/>
                  </a:cubicBezTo>
                  <a:cubicBezTo>
                    <a:pt x="11" y="28"/>
                    <a:pt x="12" y="28"/>
                    <a:pt x="14" y="2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0" y="29"/>
                    <a:pt x="0" y="29"/>
                    <a:pt x="0" y="29"/>
                  </a:cubicBez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50" name="Freeform 38"/>
            <p:cNvSpPr>
              <a:spLocks/>
            </p:cNvSpPr>
            <p:nvPr/>
          </p:nvSpPr>
          <p:spPr bwMode="auto">
            <a:xfrm>
              <a:off x="2649" y="3987"/>
              <a:ext cx="206" cy="206"/>
            </a:xfrm>
            <a:custGeom>
              <a:avLst/>
              <a:gdLst>
                <a:gd name="T0" fmla="*/ 0 w 29"/>
                <a:gd name="T1" fmla="*/ 28 h 29"/>
                <a:gd name="T2" fmla="*/ 4 w 29"/>
                <a:gd name="T3" fmla="*/ 28 h 29"/>
                <a:gd name="T4" fmla="*/ 4 w 29"/>
                <a:gd name="T5" fmla="*/ 25 h 29"/>
                <a:gd name="T6" fmla="*/ 4 w 29"/>
                <a:gd name="T7" fmla="*/ 5 h 29"/>
                <a:gd name="T8" fmla="*/ 4 w 29"/>
                <a:gd name="T9" fmla="*/ 2 h 29"/>
                <a:gd name="T10" fmla="*/ 0 w 29"/>
                <a:gd name="T11" fmla="*/ 1 h 29"/>
                <a:gd name="T12" fmla="*/ 0 w 29"/>
                <a:gd name="T13" fmla="*/ 0 h 29"/>
                <a:gd name="T14" fmla="*/ 26 w 29"/>
                <a:gd name="T15" fmla="*/ 0 h 29"/>
                <a:gd name="T16" fmla="*/ 26 w 29"/>
                <a:gd name="T17" fmla="*/ 6 h 29"/>
                <a:gd name="T18" fmla="*/ 25 w 29"/>
                <a:gd name="T19" fmla="*/ 6 h 29"/>
                <a:gd name="T20" fmla="*/ 23 w 29"/>
                <a:gd name="T21" fmla="*/ 3 h 29"/>
                <a:gd name="T22" fmla="*/ 18 w 29"/>
                <a:gd name="T23" fmla="*/ 2 h 29"/>
                <a:gd name="T24" fmla="*/ 11 w 29"/>
                <a:gd name="T25" fmla="*/ 2 h 29"/>
                <a:gd name="T26" fmla="*/ 10 w 29"/>
                <a:gd name="T27" fmla="*/ 2 h 29"/>
                <a:gd name="T28" fmla="*/ 9 w 29"/>
                <a:gd name="T29" fmla="*/ 3 h 29"/>
                <a:gd name="T30" fmla="*/ 9 w 29"/>
                <a:gd name="T31" fmla="*/ 13 h 29"/>
                <a:gd name="T32" fmla="*/ 17 w 29"/>
                <a:gd name="T33" fmla="*/ 13 h 29"/>
                <a:gd name="T34" fmla="*/ 21 w 29"/>
                <a:gd name="T35" fmla="*/ 12 h 29"/>
                <a:gd name="T36" fmla="*/ 22 w 29"/>
                <a:gd name="T37" fmla="*/ 9 h 29"/>
                <a:gd name="T38" fmla="*/ 23 w 29"/>
                <a:gd name="T39" fmla="*/ 9 h 29"/>
                <a:gd name="T40" fmla="*/ 23 w 29"/>
                <a:gd name="T41" fmla="*/ 19 h 29"/>
                <a:gd name="T42" fmla="*/ 22 w 29"/>
                <a:gd name="T43" fmla="*/ 19 h 29"/>
                <a:gd name="T44" fmla="*/ 21 w 29"/>
                <a:gd name="T45" fmla="*/ 16 h 29"/>
                <a:gd name="T46" fmla="*/ 17 w 29"/>
                <a:gd name="T47" fmla="*/ 15 h 29"/>
                <a:gd name="T48" fmla="*/ 9 w 29"/>
                <a:gd name="T49" fmla="*/ 15 h 29"/>
                <a:gd name="T50" fmla="*/ 9 w 29"/>
                <a:gd name="T51" fmla="*/ 26 h 29"/>
                <a:gd name="T52" fmla="*/ 10 w 29"/>
                <a:gd name="T53" fmla="*/ 27 h 29"/>
                <a:gd name="T54" fmla="*/ 16 w 29"/>
                <a:gd name="T55" fmla="*/ 28 h 29"/>
                <a:gd name="T56" fmla="*/ 23 w 29"/>
                <a:gd name="T57" fmla="*/ 27 h 29"/>
                <a:gd name="T58" fmla="*/ 27 w 29"/>
                <a:gd name="T59" fmla="*/ 22 h 29"/>
                <a:gd name="T60" fmla="*/ 29 w 29"/>
                <a:gd name="T61" fmla="*/ 22 h 29"/>
                <a:gd name="T62" fmla="*/ 26 w 29"/>
                <a:gd name="T63" fmla="*/ 29 h 29"/>
                <a:gd name="T64" fmla="*/ 0 w 29"/>
                <a:gd name="T65" fmla="*/ 29 h 29"/>
                <a:gd name="T66" fmla="*/ 0 w 29"/>
                <a:gd name="T67" fmla="*/ 2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" h="29">
                  <a:moveTo>
                    <a:pt x="0" y="28"/>
                  </a:moveTo>
                  <a:cubicBezTo>
                    <a:pt x="2" y="28"/>
                    <a:pt x="3" y="28"/>
                    <a:pt x="4" y="28"/>
                  </a:cubicBezTo>
                  <a:cubicBezTo>
                    <a:pt x="4" y="27"/>
                    <a:pt x="4" y="26"/>
                    <a:pt x="4" y="2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3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4"/>
                    <a:pt x="24" y="3"/>
                    <a:pt x="23" y="3"/>
                  </a:cubicBezTo>
                  <a:cubicBezTo>
                    <a:pt x="22" y="2"/>
                    <a:pt x="20" y="2"/>
                    <a:pt x="18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9" y="3"/>
                    <a:pt x="9" y="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9" y="13"/>
                    <a:pt x="20" y="13"/>
                    <a:pt x="21" y="12"/>
                  </a:cubicBezTo>
                  <a:cubicBezTo>
                    <a:pt x="21" y="12"/>
                    <a:pt x="22" y="11"/>
                    <a:pt x="22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17"/>
                    <a:pt x="21" y="16"/>
                    <a:pt x="21" y="16"/>
                  </a:cubicBezTo>
                  <a:cubicBezTo>
                    <a:pt x="20" y="15"/>
                    <a:pt x="19" y="15"/>
                    <a:pt x="17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7"/>
                    <a:pt x="10" y="27"/>
                    <a:pt x="10" y="27"/>
                  </a:cubicBezTo>
                  <a:cubicBezTo>
                    <a:pt x="11" y="28"/>
                    <a:pt x="13" y="28"/>
                    <a:pt x="16" y="28"/>
                  </a:cubicBezTo>
                  <a:cubicBezTo>
                    <a:pt x="19" y="28"/>
                    <a:pt x="22" y="27"/>
                    <a:pt x="23" y="27"/>
                  </a:cubicBezTo>
                  <a:cubicBezTo>
                    <a:pt x="25" y="26"/>
                    <a:pt x="26" y="24"/>
                    <a:pt x="27" y="22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0" y="29"/>
                    <a:pt x="0" y="29"/>
                    <a:pt x="0" y="29"/>
                  </a:cubicBez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51" name="Freeform 39"/>
            <p:cNvSpPr>
              <a:spLocks/>
            </p:cNvSpPr>
            <p:nvPr/>
          </p:nvSpPr>
          <p:spPr bwMode="auto">
            <a:xfrm>
              <a:off x="2969" y="3987"/>
              <a:ext cx="326" cy="213"/>
            </a:xfrm>
            <a:custGeom>
              <a:avLst/>
              <a:gdLst>
                <a:gd name="T0" fmla="*/ 12 w 46"/>
                <a:gd name="T1" fmla="*/ 0 h 30"/>
                <a:gd name="T2" fmla="*/ 12 w 46"/>
                <a:gd name="T3" fmla="*/ 1 h 30"/>
                <a:gd name="T4" fmla="*/ 10 w 46"/>
                <a:gd name="T5" fmla="*/ 1 h 30"/>
                <a:gd name="T6" fmla="*/ 9 w 46"/>
                <a:gd name="T7" fmla="*/ 2 h 30"/>
                <a:gd name="T8" fmla="*/ 9 w 46"/>
                <a:gd name="T9" fmla="*/ 3 h 30"/>
                <a:gd name="T10" fmla="*/ 10 w 46"/>
                <a:gd name="T11" fmla="*/ 4 h 30"/>
                <a:gd name="T12" fmla="*/ 17 w 46"/>
                <a:gd name="T13" fmla="*/ 21 h 30"/>
                <a:gd name="T14" fmla="*/ 22 w 46"/>
                <a:gd name="T15" fmla="*/ 9 h 30"/>
                <a:gd name="T16" fmla="*/ 20 w 46"/>
                <a:gd name="T17" fmla="*/ 3 h 30"/>
                <a:gd name="T18" fmla="*/ 18 w 46"/>
                <a:gd name="T19" fmla="*/ 1 h 30"/>
                <a:gd name="T20" fmla="*/ 15 w 46"/>
                <a:gd name="T21" fmla="*/ 1 h 30"/>
                <a:gd name="T22" fmla="*/ 15 w 46"/>
                <a:gd name="T23" fmla="*/ 0 h 30"/>
                <a:gd name="T24" fmla="*/ 29 w 46"/>
                <a:gd name="T25" fmla="*/ 0 h 30"/>
                <a:gd name="T26" fmla="*/ 29 w 46"/>
                <a:gd name="T27" fmla="*/ 1 h 30"/>
                <a:gd name="T28" fmla="*/ 26 w 46"/>
                <a:gd name="T29" fmla="*/ 1 h 30"/>
                <a:gd name="T30" fmla="*/ 25 w 46"/>
                <a:gd name="T31" fmla="*/ 3 h 30"/>
                <a:gd name="T32" fmla="*/ 25 w 46"/>
                <a:gd name="T33" fmla="*/ 3 h 30"/>
                <a:gd name="T34" fmla="*/ 25 w 46"/>
                <a:gd name="T35" fmla="*/ 4 h 30"/>
                <a:gd name="T36" fmla="*/ 33 w 46"/>
                <a:gd name="T37" fmla="*/ 21 h 30"/>
                <a:gd name="T38" fmla="*/ 39 w 46"/>
                <a:gd name="T39" fmla="*/ 6 h 30"/>
                <a:gd name="T40" fmla="*/ 39 w 46"/>
                <a:gd name="T41" fmla="*/ 4 h 30"/>
                <a:gd name="T42" fmla="*/ 39 w 46"/>
                <a:gd name="T43" fmla="*/ 3 h 30"/>
                <a:gd name="T44" fmla="*/ 38 w 46"/>
                <a:gd name="T45" fmla="*/ 1 h 30"/>
                <a:gd name="T46" fmla="*/ 36 w 46"/>
                <a:gd name="T47" fmla="*/ 1 h 30"/>
                <a:gd name="T48" fmla="*/ 36 w 46"/>
                <a:gd name="T49" fmla="*/ 0 h 30"/>
                <a:gd name="T50" fmla="*/ 46 w 46"/>
                <a:gd name="T51" fmla="*/ 0 h 30"/>
                <a:gd name="T52" fmla="*/ 46 w 46"/>
                <a:gd name="T53" fmla="*/ 1 h 30"/>
                <a:gd name="T54" fmla="*/ 44 w 46"/>
                <a:gd name="T55" fmla="*/ 1 h 30"/>
                <a:gd name="T56" fmla="*/ 42 w 46"/>
                <a:gd name="T57" fmla="*/ 4 h 30"/>
                <a:gd name="T58" fmla="*/ 37 w 46"/>
                <a:gd name="T59" fmla="*/ 17 h 30"/>
                <a:gd name="T60" fmla="*/ 35 w 46"/>
                <a:gd name="T61" fmla="*/ 22 h 30"/>
                <a:gd name="T62" fmla="*/ 32 w 46"/>
                <a:gd name="T63" fmla="*/ 30 h 30"/>
                <a:gd name="T64" fmla="*/ 31 w 46"/>
                <a:gd name="T65" fmla="*/ 30 h 30"/>
                <a:gd name="T66" fmla="*/ 29 w 46"/>
                <a:gd name="T67" fmla="*/ 25 h 30"/>
                <a:gd name="T68" fmla="*/ 23 w 46"/>
                <a:gd name="T69" fmla="*/ 11 h 30"/>
                <a:gd name="T70" fmla="*/ 16 w 46"/>
                <a:gd name="T71" fmla="*/ 30 h 30"/>
                <a:gd name="T72" fmla="*/ 15 w 46"/>
                <a:gd name="T73" fmla="*/ 30 h 30"/>
                <a:gd name="T74" fmla="*/ 11 w 46"/>
                <a:gd name="T75" fmla="*/ 21 h 30"/>
                <a:gd name="T76" fmla="*/ 7 w 46"/>
                <a:gd name="T77" fmla="*/ 10 h 30"/>
                <a:gd name="T78" fmla="*/ 4 w 46"/>
                <a:gd name="T79" fmla="*/ 2 h 30"/>
                <a:gd name="T80" fmla="*/ 0 w 46"/>
                <a:gd name="T81" fmla="*/ 1 h 30"/>
                <a:gd name="T82" fmla="*/ 0 w 46"/>
                <a:gd name="T83" fmla="*/ 0 h 30"/>
                <a:gd name="T84" fmla="*/ 12 w 46"/>
                <a:gd name="T8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6" h="30">
                  <a:moveTo>
                    <a:pt x="12" y="0"/>
                  </a:move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0" y="1"/>
                  </a:cubicBezTo>
                  <a:cubicBezTo>
                    <a:pt x="10" y="1"/>
                    <a:pt x="9" y="2"/>
                    <a:pt x="9" y="2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4"/>
                    <a:pt x="10" y="4"/>
                    <a:pt x="10" y="4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9" y="2"/>
                    <a:pt x="19" y="1"/>
                    <a:pt x="18" y="1"/>
                  </a:cubicBezTo>
                  <a:cubicBezTo>
                    <a:pt x="17" y="1"/>
                    <a:pt x="17" y="1"/>
                    <a:pt x="15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7" y="1"/>
                    <a:pt x="26" y="1"/>
                    <a:pt x="26" y="1"/>
                  </a:cubicBezTo>
                  <a:cubicBezTo>
                    <a:pt x="25" y="1"/>
                    <a:pt x="25" y="2"/>
                    <a:pt x="25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3"/>
                    <a:pt x="25" y="4"/>
                    <a:pt x="25" y="4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5"/>
                    <a:pt x="39" y="4"/>
                    <a:pt x="39" y="4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2"/>
                    <a:pt x="39" y="1"/>
                    <a:pt x="38" y="1"/>
                  </a:cubicBezTo>
                  <a:cubicBezTo>
                    <a:pt x="38" y="1"/>
                    <a:pt x="37" y="1"/>
                    <a:pt x="36" y="1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5" y="1"/>
                    <a:pt x="44" y="1"/>
                    <a:pt x="44" y="1"/>
                  </a:cubicBezTo>
                  <a:cubicBezTo>
                    <a:pt x="43" y="2"/>
                    <a:pt x="42" y="3"/>
                    <a:pt x="42" y="4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6" y="6"/>
                    <a:pt x="4" y="3"/>
                    <a:pt x="4" y="2"/>
                  </a:cubicBezTo>
                  <a:cubicBezTo>
                    <a:pt x="3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52" name="Freeform 40"/>
            <p:cNvSpPr>
              <a:spLocks noEditPoints="1"/>
            </p:cNvSpPr>
            <p:nvPr/>
          </p:nvSpPr>
          <p:spPr bwMode="auto">
            <a:xfrm>
              <a:off x="3295" y="3980"/>
              <a:ext cx="228" cy="220"/>
            </a:xfrm>
            <a:custGeom>
              <a:avLst/>
              <a:gdLst>
                <a:gd name="T0" fmla="*/ 5 w 32"/>
                <a:gd name="T1" fmla="*/ 4 h 31"/>
                <a:gd name="T2" fmla="*/ 16 w 32"/>
                <a:gd name="T3" fmla="*/ 0 h 31"/>
                <a:gd name="T4" fmla="*/ 27 w 32"/>
                <a:gd name="T5" fmla="*/ 4 h 31"/>
                <a:gd name="T6" fmla="*/ 32 w 32"/>
                <a:gd name="T7" fmla="*/ 16 h 31"/>
                <a:gd name="T8" fmla="*/ 27 w 32"/>
                <a:gd name="T9" fmla="*/ 27 h 31"/>
                <a:gd name="T10" fmla="*/ 16 w 32"/>
                <a:gd name="T11" fmla="*/ 31 h 31"/>
                <a:gd name="T12" fmla="*/ 5 w 32"/>
                <a:gd name="T13" fmla="*/ 27 h 31"/>
                <a:gd name="T14" fmla="*/ 0 w 32"/>
                <a:gd name="T15" fmla="*/ 16 h 31"/>
                <a:gd name="T16" fmla="*/ 5 w 32"/>
                <a:gd name="T17" fmla="*/ 4 h 31"/>
                <a:gd name="T18" fmla="*/ 9 w 32"/>
                <a:gd name="T19" fmla="*/ 26 h 31"/>
                <a:gd name="T20" fmla="*/ 16 w 32"/>
                <a:gd name="T21" fmla="*/ 29 h 31"/>
                <a:gd name="T22" fmla="*/ 24 w 32"/>
                <a:gd name="T23" fmla="*/ 26 h 31"/>
                <a:gd name="T24" fmla="*/ 27 w 32"/>
                <a:gd name="T25" fmla="*/ 16 h 31"/>
                <a:gd name="T26" fmla="*/ 24 w 32"/>
                <a:gd name="T27" fmla="*/ 5 h 31"/>
                <a:gd name="T28" fmla="*/ 16 w 32"/>
                <a:gd name="T29" fmla="*/ 2 h 31"/>
                <a:gd name="T30" fmla="*/ 9 w 32"/>
                <a:gd name="T31" fmla="*/ 5 h 31"/>
                <a:gd name="T32" fmla="*/ 6 w 32"/>
                <a:gd name="T33" fmla="*/ 16 h 31"/>
                <a:gd name="T34" fmla="*/ 9 w 32"/>
                <a:gd name="T35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1">
                  <a:moveTo>
                    <a:pt x="5" y="4"/>
                  </a:moveTo>
                  <a:cubicBezTo>
                    <a:pt x="8" y="2"/>
                    <a:pt x="12" y="0"/>
                    <a:pt x="16" y="0"/>
                  </a:cubicBezTo>
                  <a:cubicBezTo>
                    <a:pt x="21" y="0"/>
                    <a:pt x="24" y="2"/>
                    <a:pt x="27" y="4"/>
                  </a:cubicBezTo>
                  <a:cubicBezTo>
                    <a:pt x="31" y="7"/>
                    <a:pt x="32" y="11"/>
                    <a:pt x="32" y="16"/>
                  </a:cubicBezTo>
                  <a:cubicBezTo>
                    <a:pt x="32" y="20"/>
                    <a:pt x="31" y="24"/>
                    <a:pt x="27" y="27"/>
                  </a:cubicBezTo>
                  <a:cubicBezTo>
                    <a:pt x="24" y="30"/>
                    <a:pt x="21" y="31"/>
                    <a:pt x="16" y="31"/>
                  </a:cubicBezTo>
                  <a:cubicBezTo>
                    <a:pt x="12" y="31"/>
                    <a:pt x="8" y="30"/>
                    <a:pt x="5" y="27"/>
                  </a:cubicBezTo>
                  <a:cubicBezTo>
                    <a:pt x="2" y="24"/>
                    <a:pt x="0" y="20"/>
                    <a:pt x="0" y="16"/>
                  </a:cubicBezTo>
                  <a:cubicBezTo>
                    <a:pt x="0" y="11"/>
                    <a:pt x="2" y="7"/>
                    <a:pt x="5" y="4"/>
                  </a:cubicBezTo>
                  <a:close/>
                  <a:moveTo>
                    <a:pt x="9" y="26"/>
                  </a:moveTo>
                  <a:cubicBezTo>
                    <a:pt x="11" y="28"/>
                    <a:pt x="13" y="29"/>
                    <a:pt x="16" y="29"/>
                  </a:cubicBezTo>
                  <a:cubicBezTo>
                    <a:pt x="19" y="29"/>
                    <a:pt x="22" y="28"/>
                    <a:pt x="24" y="26"/>
                  </a:cubicBezTo>
                  <a:cubicBezTo>
                    <a:pt x="26" y="24"/>
                    <a:pt x="27" y="20"/>
                    <a:pt x="27" y="16"/>
                  </a:cubicBezTo>
                  <a:cubicBezTo>
                    <a:pt x="27" y="11"/>
                    <a:pt x="26" y="7"/>
                    <a:pt x="24" y="5"/>
                  </a:cubicBezTo>
                  <a:cubicBezTo>
                    <a:pt x="22" y="3"/>
                    <a:pt x="19" y="2"/>
                    <a:pt x="16" y="2"/>
                  </a:cubicBezTo>
                  <a:cubicBezTo>
                    <a:pt x="13" y="2"/>
                    <a:pt x="11" y="3"/>
                    <a:pt x="9" y="5"/>
                  </a:cubicBezTo>
                  <a:cubicBezTo>
                    <a:pt x="7" y="8"/>
                    <a:pt x="6" y="11"/>
                    <a:pt x="6" y="16"/>
                  </a:cubicBezTo>
                  <a:cubicBezTo>
                    <a:pt x="6" y="20"/>
                    <a:pt x="7" y="24"/>
                    <a:pt x="9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53" name="Freeform 41"/>
            <p:cNvSpPr>
              <a:spLocks noEditPoints="1"/>
            </p:cNvSpPr>
            <p:nvPr/>
          </p:nvSpPr>
          <p:spPr bwMode="auto">
            <a:xfrm>
              <a:off x="3558" y="3987"/>
              <a:ext cx="220" cy="206"/>
            </a:xfrm>
            <a:custGeom>
              <a:avLst/>
              <a:gdLst>
                <a:gd name="T0" fmla="*/ 0 w 31"/>
                <a:gd name="T1" fmla="*/ 28 h 29"/>
                <a:gd name="T2" fmla="*/ 3 w 31"/>
                <a:gd name="T3" fmla="*/ 28 h 29"/>
                <a:gd name="T4" fmla="*/ 4 w 31"/>
                <a:gd name="T5" fmla="*/ 24 h 29"/>
                <a:gd name="T6" fmla="*/ 4 w 31"/>
                <a:gd name="T7" fmla="*/ 5 h 29"/>
                <a:gd name="T8" fmla="*/ 3 w 31"/>
                <a:gd name="T9" fmla="*/ 2 h 29"/>
                <a:gd name="T10" fmla="*/ 0 w 31"/>
                <a:gd name="T11" fmla="*/ 1 h 29"/>
                <a:gd name="T12" fmla="*/ 0 w 31"/>
                <a:gd name="T13" fmla="*/ 0 h 29"/>
                <a:gd name="T14" fmla="*/ 13 w 31"/>
                <a:gd name="T15" fmla="*/ 0 h 29"/>
                <a:gd name="T16" fmla="*/ 20 w 31"/>
                <a:gd name="T17" fmla="*/ 1 h 29"/>
                <a:gd name="T18" fmla="*/ 26 w 31"/>
                <a:gd name="T19" fmla="*/ 8 h 29"/>
                <a:gd name="T20" fmla="*/ 23 w 31"/>
                <a:gd name="T21" fmla="*/ 13 h 29"/>
                <a:gd name="T22" fmla="*/ 17 w 31"/>
                <a:gd name="T23" fmla="*/ 15 h 29"/>
                <a:gd name="T24" fmla="*/ 27 w 31"/>
                <a:gd name="T25" fmla="*/ 26 h 29"/>
                <a:gd name="T26" fmla="*/ 29 w 31"/>
                <a:gd name="T27" fmla="*/ 28 h 29"/>
                <a:gd name="T28" fmla="*/ 31 w 31"/>
                <a:gd name="T29" fmla="*/ 28 h 29"/>
                <a:gd name="T30" fmla="*/ 31 w 31"/>
                <a:gd name="T31" fmla="*/ 29 h 29"/>
                <a:gd name="T32" fmla="*/ 23 w 31"/>
                <a:gd name="T33" fmla="*/ 29 h 29"/>
                <a:gd name="T34" fmla="*/ 11 w 31"/>
                <a:gd name="T35" fmla="*/ 16 h 29"/>
                <a:gd name="T36" fmla="*/ 9 w 31"/>
                <a:gd name="T37" fmla="*/ 16 h 29"/>
                <a:gd name="T38" fmla="*/ 9 w 31"/>
                <a:gd name="T39" fmla="*/ 24 h 29"/>
                <a:gd name="T40" fmla="*/ 10 w 31"/>
                <a:gd name="T41" fmla="*/ 28 h 29"/>
                <a:gd name="T42" fmla="*/ 13 w 31"/>
                <a:gd name="T43" fmla="*/ 28 h 29"/>
                <a:gd name="T44" fmla="*/ 13 w 31"/>
                <a:gd name="T45" fmla="*/ 29 h 29"/>
                <a:gd name="T46" fmla="*/ 0 w 31"/>
                <a:gd name="T47" fmla="*/ 29 h 29"/>
                <a:gd name="T48" fmla="*/ 0 w 31"/>
                <a:gd name="T49" fmla="*/ 28 h 29"/>
                <a:gd name="T50" fmla="*/ 16 w 31"/>
                <a:gd name="T51" fmla="*/ 13 h 29"/>
                <a:gd name="T52" fmla="*/ 20 w 31"/>
                <a:gd name="T53" fmla="*/ 8 h 29"/>
                <a:gd name="T54" fmla="*/ 17 w 31"/>
                <a:gd name="T55" fmla="*/ 2 h 29"/>
                <a:gd name="T56" fmla="*/ 12 w 31"/>
                <a:gd name="T57" fmla="*/ 2 h 29"/>
                <a:gd name="T58" fmla="*/ 9 w 31"/>
                <a:gd name="T59" fmla="*/ 2 h 29"/>
                <a:gd name="T60" fmla="*/ 9 w 31"/>
                <a:gd name="T61" fmla="*/ 3 h 29"/>
                <a:gd name="T62" fmla="*/ 9 w 31"/>
                <a:gd name="T63" fmla="*/ 14 h 29"/>
                <a:gd name="T64" fmla="*/ 16 w 31"/>
                <a:gd name="T65" fmla="*/ 1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" h="29">
                  <a:moveTo>
                    <a:pt x="0" y="28"/>
                  </a:moveTo>
                  <a:cubicBezTo>
                    <a:pt x="2" y="28"/>
                    <a:pt x="3" y="28"/>
                    <a:pt x="3" y="28"/>
                  </a:cubicBezTo>
                  <a:cubicBezTo>
                    <a:pt x="4" y="27"/>
                    <a:pt x="4" y="26"/>
                    <a:pt x="4" y="2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3"/>
                    <a:pt x="4" y="2"/>
                    <a:pt x="3" y="2"/>
                  </a:cubicBezTo>
                  <a:cubicBezTo>
                    <a:pt x="3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8" y="0"/>
                    <a:pt x="20" y="1"/>
                  </a:cubicBezTo>
                  <a:cubicBezTo>
                    <a:pt x="24" y="2"/>
                    <a:pt x="26" y="4"/>
                    <a:pt x="26" y="8"/>
                  </a:cubicBezTo>
                  <a:cubicBezTo>
                    <a:pt x="26" y="10"/>
                    <a:pt x="25" y="12"/>
                    <a:pt x="23" y="13"/>
                  </a:cubicBezTo>
                  <a:cubicBezTo>
                    <a:pt x="22" y="14"/>
                    <a:pt x="19" y="15"/>
                    <a:pt x="17" y="1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7"/>
                    <a:pt x="28" y="28"/>
                    <a:pt x="29" y="28"/>
                  </a:cubicBezTo>
                  <a:cubicBezTo>
                    <a:pt x="29" y="28"/>
                    <a:pt x="30" y="28"/>
                    <a:pt x="31" y="28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6"/>
                    <a:pt x="9" y="27"/>
                    <a:pt x="10" y="28"/>
                  </a:cubicBezTo>
                  <a:cubicBezTo>
                    <a:pt x="10" y="28"/>
                    <a:pt x="11" y="28"/>
                    <a:pt x="13" y="28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0" y="29"/>
                    <a:pt x="0" y="29"/>
                    <a:pt x="0" y="29"/>
                  </a:cubicBezTo>
                  <a:lnTo>
                    <a:pt x="0" y="28"/>
                  </a:lnTo>
                  <a:close/>
                  <a:moveTo>
                    <a:pt x="16" y="13"/>
                  </a:moveTo>
                  <a:cubicBezTo>
                    <a:pt x="19" y="12"/>
                    <a:pt x="20" y="10"/>
                    <a:pt x="20" y="8"/>
                  </a:cubicBezTo>
                  <a:cubicBezTo>
                    <a:pt x="20" y="5"/>
                    <a:pt x="19" y="3"/>
                    <a:pt x="17" y="2"/>
                  </a:cubicBezTo>
                  <a:cubicBezTo>
                    <a:pt x="16" y="2"/>
                    <a:pt x="14" y="2"/>
                    <a:pt x="12" y="2"/>
                  </a:cubicBezTo>
                  <a:cubicBezTo>
                    <a:pt x="11" y="2"/>
                    <a:pt x="10" y="2"/>
                    <a:pt x="9" y="2"/>
                  </a:cubicBezTo>
                  <a:cubicBezTo>
                    <a:pt x="9" y="2"/>
                    <a:pt x="9" y="3"/>
                    <a:pt x="9" y="3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2" y="14"/>
                    <a:pt x="15" y="14"/>
                    <a:pt x="1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54" name="Freeform 42"/>
            <p:cNvSpPr>
              <a:spLocks/>
            </p:cNvSpPr>
            <p:nvPr/>
          </p:nvSpPr>
          <p:spPr bwMode="auto">
            <a:xfrm>
              <a:off x="3800" y="3987"/>
              <a:ext cx="206" cy="206"/>
            </a:xfrm>
            <a:custGeom>
              <a:avLst/>
              <a:gdLst>
                <a:gd name="T0" fmla="*/ 0 w 29"/>
                <a:gd name="T1" fmla="*/ 28 h 29"/>
                <a:gd name="T2" fmla="*/ 3 w 29"/>
                <a:gd name="T3" fmla="*/ 28 h 29"/>
                <a:gd name="T4" fmla="*/ 4 w 29"/>
                <a:gd name="T5" fmla="*/ 25 h 29"/>
                <a:gd name="T6" fmla="*/ 4 w 29"/>
                <a:gd name="T7" fmla="*/ 5 h 29"/>
                <a:gd name="T8" fmla="*/ 3 w 29"/>
                <a:gd name="T9" fmla="*/ 2 h 29"/>
                <a:gd name="T10" fmla="*/ 0 w 29"/>
                <a:gd name="T11" fmla="*/ 1 h 29"/>
                <a:gd name="T12" fmla="*/ 0 w 29"/>
                <a:gd name="T13" fmla="*/ 0 h 29"/>
                <a:gd name="T14" fmla="*/ 14 w 29"/>
                <a:gd name="T15" fmla="*/ 0 h 29"/>
                <a:gd name="T16" fmla="*/ 14 w 29"/>
                <a:gd name="T17" fmla="*/ 1 h 29"/>
                <a:gd name="T18" fmla="*/ 10 w 29"/>
                <a:gd name="T19" fmla="*/ 2 h 29"/>
                <a:gd name="T20" fmla="*/ 9 w 29"/>
                <a:gd name="T21" fmla="*/ 4 h 29"/>
                <a:gd name="T22" fmla="*/ 9 w 29"/>
                <a:gd name="T23" fmla="*/ 26 h 29"/>
                <a:gd name="T24" fmla="*/ 9 w 29"/>
                <a:gd name="T25" fmla="*/ 27 h 29"/>
                <a:gd name="T26" fmla="*/ 11 w 29"/>
                <a:gd name="T27" fmla="*/ 27 h 29"/>
                <a:gd name="T28" fmla="*/ 12 w 29"/>
                <a:gd name="T29" fmla="*/ 28 h 29"/>
                <a:gd name="T30" fmla="*/ 14 w 29"/>
                <a:gd name="T31" fmla="*/ 28 h 29"/>
                <a:gd name="T32" fmla="*/ 23 w 29"/>
                <a:gd name="T33" fmla="*/ 27 h 29"/>
                <a:gd name="T34" fmla="*/ 27 w 29"/>
                <a:gd name="T35" fmla="*/ 22 h 29"/>
                <a:gd name="T36" fmla="*/ 29 w 29"/>
                <a:gd name="T37" fmla="*/ 22 h 29"/>
                <a:gd name="T38" fmla="*/ 26 w 29"/>
                <a:gd name="T39" fmla="*/ 29 h 29"/>
                <a:gd name="T40" fmla="*/ 0 w 29"/>
                <a:gd name="T41" fmla="*/ 29 h 29"/>
                <a:gd name="T42" fmla="*/ 0 w 29"/>
                <a:gd name="T43" fmla="*/ 2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29">
                  <a:moveTo>
                    <a:pt x="0" y="28"/>
                  </a:moveTo>
                  <a:cubicBezTo>
                    <a:pt x="2" y="28"/>
                    <a:pt x="3" y="28"/>
                    <a:pt x="3" y="28"/>
                  </a:cubicBezTo>
                  <a:cubicBezTo>
                    <a:pt x="4" y="27"/>
                    <a:pt x="4" y="26"/>
                    <a:pt x="4" y="2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3"/>
                    <a:pt x="4" y="2"/>
                    <a:pt x="3" y="2"/>
                  </a:cubicBezTo>
                  <a:cubicBezTo>
                    <a:pt x="3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1" y="1"/>
                    <a:pt x="10" y="2"/>
                  </a:cubicBezTo>
                  <a:cubicBezTo>
                    <a:pt x="9" y="2"/>
                    <a:pt x="9" y="3"/>
                    <a:pt x="9" y="4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1" y="28"/>
                    <a:pt x="12" y="28"/>
                  </a:cubicBezTo>
                  <a:cubicBezTo>
                    <a:pt x="12" y="28"/>
                    <a:pt x="13" y="28"/>
                    <a:pt x="14" y="28"/>
                  </a:cubicBezTo>
                  <a:cubicBezTo>
                    <a:pt x="18" y="28"/>
                    <a:pt x="21" y="27"/>
                    <a:pt x="23" y="27"/>
                  </a:cubicBezTo>
                  <a:cubicBezTo>
                    <a:pt x="24" y="26"/>
                    <a:pt x="26" y="24"/>
                    <a:pt x="27" y="22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0" y="29"/>
                    <a:pt x="0" y="29"/>
                    <a:pt x="0" y="29"/>
                  </a:cubicBez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55" name="Freeform 43"/>
            <p:cNvSpPr>
              <a:spLocks noEditPoints="1"/>
            </p:cNvSpPr>
            <p:nvPr/>
          </p:nvSpPr>
          <p:spPr bwMode="auto">
            <a:xfrm>
              <a:off x="4020" y="3987"/>
              <a:ext cx="227" cy="206"/>
            </a:xfrm>
            <a:custGeom>
              <a:avLst/>
              <a:gdLst>
                <a:gd name="T0" fmla="*/ 0 w 32"/>
                <a:gd name="T1" fmla="*/ 28 h 29"/>
                <a:gd name="T2" fmla="*/ 3 w 32"/>
                <a:gd name="T3" fmla="*/ 28 h 29"/>
                <a:gd name="T4" fmla="*/ 4 w 32"/>
                <a:gd name="T5" fmla="*/ 25 h 29"/>
                <a:gd name="T6" fmla="*/ 4 w 32"/>
                <a:gd name="T7" fmla="*/ 5 h 29"/>
                <a:gd name="T8" fmla="*/ 3 w 32"/>
                <a:gd name="T9" fmla="*/ 2 h 29"/>
                <a:gd name="T10" fmla="*/ 0 w 32"/>
                <a:gd name="T11" fmla="*/ 1 h 29"/>
                <a:gd name="T12" fmla="*/ 0 w 32"/>
                <a:gd name="T13" fmla="*/ 0 h 29"/>
                <a:gd name="T14" fmla="*/ 13 w 32"/>
                <a:gd name="T15" fmla="*/ 0 h 29"/>
                <a:gd name="T16" fmla="*/ 24 w 32"/>
                <a:gd name="T17" fmla="*/ 2 h 29"/>
                <a:gd name="T18" fmla="*/ 32 w 32"/>
                <a:gd name="T19" fmla="*/ 15 h 29"/>
                <a:gd name="T20" fmla="*/ 31 w 32"/>
                <a:gd name="T21" fmla="*/ 21 h 29"/>
                <a:gd name="T22" fmla="*/ 26 w 32"/>
                <a:gd name="T23" fmla="*/ 26 h 29"/>
                <a:gd name="T24" fmla="*/ 22 w 32"/>
                <a:gd name="T25" fmla="*/ 28 h 29"/>
                <a:gd name="T26" fmla="*/ 13 w 32"/>
                <a:gd name="T27" fmla="*/ 29 h 29"/>
                <a:gd name="T28" fmla="*/ 0 w 32"/>
                <a:gd name="T29" fmla="*/ 29 h 29"/>
                <a:gd name="T30" fmla="*/ 0 w 32"/>
                <a:gd name="T31" fmla="*/ 28 h 29"/>
                <a:gd name="T32" fmla="*/ 10 w 32"/>
                <a:gd name="T33" fmla="*/ 27 h 29"/>
                <a:gd name="T34" fmla="*/ 12 w 32"/>
                <a:gd name="T35" fmla="*/ 28 h 29"/>
                <a:gd name="T36" fmla="*/ 21 w 32"/>
                <a:gd name="T37" fmla="*/ 26 h 29"/>
                <a:gd name="T38" fmla="*/ 27 w 32"/>
                <a:gd name="T39" fmla="*/ 15 h 29"/>
                <a:gd name="T40" fmla="*/ 22 w 32"/>
                <a:gd name="T41" fmla="*/ 5 h 29"/>
                <a:gd name="T42" fmla="*/ 12 w 32"/>
                <a:gd name="T43" fmla="*/ 2 h 29"/>
                <a:gd name="T44" fmla="*/ 10 w 32"/>
                <a:gd name="T45" fmla="*/ 2 h 29"/>
                <a:gd name="T46" fmla="*/ 9 w 32"/>
                <a:gd name="T47" fmla="*/ 3 h 29"/>
                <a:gd name="T48" fmla="*/ 9 w 32"/>
                <a:gd name="T49" fmla="*/ 26 h 29"/>
                <a:gd name="T50" fmla="*/ 10 w 32"/>
                <a:gd name="T51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2" h="29">
                  <a:moveTo>
                    <a:pt x="0" y="28"/>
                  </a:moveTo>
                  <a:cubicBezTo>
                    <a:pt x="1" y="28"/>
                    <a:pt x="3" y="28"/>
                    <a:pt x="3" y="28"/>
                  </a:cubicBezTo>
                  <a:cubicBezTo>
                    <a:pt x="4" y="27"/>
                    <a:pt x="4" y="26"/>
                    <a:pt x="4" y="2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3"/>
                    <a:pt x="4" y="2"/>
                    <a:pt x="3" y="2"/>
                  </a:cubicBezTo>
                  <a:cubicBezTo>
                    <a:pt x="3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7" y="0"/>
                    <a:pt x="21" y="1"/>
                    <a:pt x="24" y="2"/>
                  </a:cubicBezTo>
                  <a:cubicBezTo>
                    <a:pt x="30" y="4"/>
                    <a:pt x="32" y="9"/>
                    <a:pt x="32" y="15"/>
                  </a:cubicBezTo>
                  <a:cubicBezTo>
                    <a:pt x="32" y="17"/>
                    <a:pt x="32" y="19"/>
                    <a:pt x="31" y="21"/>
                  </a:cubicBezTo>
                  <a:cubicBezTo>
                    <a:pt x="30" y="23"/>
                    <a:pt x="28" y="25"/>
                    <a:pt x="26" y="26"/>
                  </a:cubicBezTo>
                  <a:cubicBezTo>
                    <a:pt x="25" y="27"/>
                    <a:pt x="24" y="28"/>
                    <a:pt x="22" y="28"/>
                  </a:cubicBezTo>
                  <a:cubicBezTo>
                    <a:pt x="20" y="29"/>
                    <a:pt x="17" y="29"/>
                    <a:pt x="13" y="29"/>
                  </a:cubicBezTo>
                  <a:cubicBezTo>
                    <a:pt x="0" y="29"/>
                    <a:pt x="0" y="29"/>
                    <a:pt x="0" y="29"/>
                  </a:cubicBezTo>
                  <a:lnTo>
                    <a:pt x="0" y="28"/>
                  </a:lnTo>
                  <a:close/>
                  <a:moveTo>
                    <a:pt x="10" y="27"/>
                  </a:moveTo>
                  <a:cubicBezTo>
                    <a:pt x="10" y="28"/>
                    <a:pt x="11" y="28"/>
                    <a:pt x="12" y="28"/>
                  </a:cubicBezTo>
                  <a:cubicBezTo>
                    <a:pt x="16" y="28"/>
                    <a:pt x="19" y="27"/>
                    <a:pt x="21" y="26"/>
                  </a:cubicBezTo>
                  <a:cubicBezTo>
                    <a:pt x="25" y="24"/>
                    <a:pt x="27" y="20"/>
                    <a:pt x="27" y="15"/>
                  </a:cubicBezTo>
                  <a:cubicBezTo>
                    <a:pt x="27" y="10"/>
                    <a:pt x="25" y="7"/>
                    <a:pt x="22" y="5"/>
                  </a:cubicBezTo>
                  <a:cubicBezTo>
                    <a:pt x="20" y="3"/>
                    <a:pt x="16" y="2"/>
                    <a:pt x="12" y="2"/>
                  </a:cubicBezTo>
                  <a:cubicBezTo>
                    <a:pt x="11" y="2"/>
                    <a:pt x="10" y="2"/>
                    <a:pt x="10" y="2"/>
                  </a:cubicBezTo>
                  <a:cubicBezTo>
                    <a:pt x="9" y="2"/>
                    <a:pt x="9" y="3"/>
                    <a:pt x="9" y="3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7"/>
                    <a:pt x="9" y="27"/>
                    <a:pt x="10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56" name="Freeform 44"/>
            <p:cNvSpPr>
              <a:spLocks/>
            </p:cNvSpPr>
            <p:nvPr/>
          </p:nvSpPr>
          <p:spPr bwMode="auto">
            <a:xfrm>
              <a:off x="2266" y="290"/>
              <a:ext cx="419" cy="412"/>
            </a:xfrm>
            <a:custGeom>
              <a:avLst/>
              <a:gdLst>
                <a:gd name="T0" fmla="*/ 48 w 59"/>
                <a:gd name="T1" fmla="*/ 0 h 58"/>
                <a:gd name="T2" fmla="*/ 40 w 59"/>
                <a:gd name="T3" fmla="*/ 6 h 58"/>
                <a:gd name="T4" fmla="*/ 48 w 59"/>
                <a:gd name="T5" fmla="*/ 25 h 58"/>
                <a:gd name="T6" fmla="*/ 25 w 59"/>
                <a:gd name="T7" fmla="*/ 48 h 58"/>
                <a:gd name="T8" fmla="*/ 6 w 59"/>
                <a:gd name="T9" fmla="*/ 40 h 58"/>
                <a:gd name="T10" fmla="*/ 3 w 59"/>
                <a:gd name="T11" fmla="*/ 43 h 58"/>
                <a:gd name="T12" fmla="*/ 0 w 59"/>
                <a:gd name="T13" fmla="*/ 48 h 58"/>
                <a:gd name="T14" fmla="*/ 25 w 59"/>
                <a:gd name="T15" fmla="*/ 58 h 58"/>
                <a:gd name="T16" fmla="*/ 59 w 59"/>
                <a:gd name="T17" fmla="*/ 25 h 58"/>
                <a:gd name="T18" fmla="*/ 48 w 59"/>
                <a:gd name="T1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58">
                  <a:moveTo>
                    <a:pt x="48" y="0"/>
                  </a:moveTo>
                  <a:cubicBezTo>
                    <a:pt x="45" y="2"/>
                    <a:pt x="42" y="4"/>
                    <a:pt x="40" y="6"/>
                  </a:cubicBezTo>
                  <a:cubicBezTo>
                    <a:pt x="45" y="10"/>
                    <a:pt x="48" y="17"/>
                    <a:pt x="48" y="25"/>
                  </a:cubicBezTo>
                  <a:cubicBezTo>
                    <a:pt x="48" y="38"/>
                    <a:pt x="39" y="48"/>
                    <a:pt x="25" y="48"/>
                  </a:cubicBezTo>
                  <a:cubicBezTo>
                    <a:pt x="17" y="48"/>
                    <a:pt x="10" y="45"/>
                    <a:pt x="6" y="40"/>
                  </a:cubicBezTo>
                  <a:cubicBezTo>
                    <a:pt x="5" y="41"/>
                    <a:pt x="4" y="42"/>
                    <a:pt x="3" y="43"/>
                  </a:cubicBezTo>
                  <a:cubicBezTo>
                    <a:pt x="2" y="44"/>
                    <a:pt x="1" y="46"/>
                    <a:pt x="0" y="48"/>
                  </a:cubicBezTo>
                  <a:cubicBezTo>
                    <a:pt x="6" y="54"/>
                    <a:pt x="15" y="58"/>
                    <a:pt x="25" y="58"/>
                  </a:cubicBezTo>
                  <a:cubicBezTo>
                    <a:pt x="43" y="58"/>
                    <a:pt x="59" y="43"/>
                    <a:pt x="59" y="25"/>
                  </a:cubicBezTo>
                  <a:cubicBezTo>
                    <a:pt x="59" y="15"/>
                    <a:pt x="54" y="6"/>
                    <a:pt x="4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57" name="Freeform 45"/>
            <p:cNvSpPr>
              <a:spLocks/>
            </p:cNvSpPr>
            <p:nvPr/>
          </p:nvSpPr>
          <p:spPr bwMode="auto">
            <a:xfrm>
              <a:off x="2067" y="879"/>
              <a:ext cx="185" cy="426"/>
            </a:xfrm>
            <a:custGeom>
              <a:avLst/>
              <a:gdLst>
                <a:gd name="T0" fmla="*/ 15 w 26"/>
                <a:gd name="T1" fmla="*/ 28 h 60"/>
                <a:gd name="T2" fmla="*/ 1 w 26"/>
                <a:gd name="T3" fmla="*/ 50 h 60"/>
                <a:gd name="T4" fmla="*/ 0 w 26"/>
                <a:gd name="T5" fmla="*/ 56 h 60"/>
                <a:gd name="T6" fmla="*/ 0 w 26"/>
                <a:gd name="T7" fmla="*/ 60 h 60"/>
                <a:gd name="T8" fmla="*/ 26 w 26"/>
                <a:gd name="T9" fmla="*/ 28 h 60"/>
                <a:gd name="T10" fmla="*/ 10 w 26"/>
                <a:gd name="T11" fmla="*/ 0 h 60"/>
                <a:gd name="T12" fmla="*/ 7 w 26"/>
                <a:gd name="T13" fmla="*/ 9 h 60"/>
                <a:gd name="T14" fmla="*/ 15 w 26"/>
                <a:gd name="T15" fmla="*/ 2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60">
                  <a:moveTo>
                    <a:pt x="15" y="28"/>
                  </a:moveTo>
                  <a:cubicBezTo>
                    <a:pt x="15" y="38"/>
                    <a:pt x="10" y="47"/>
                    <a:pt x="1" y="50"/>
                  </a:cubicBezTo>
                  <a:cubicBezTo>
                    <a:pt x="0" y="52"/>
                    <a:pt x="0" y="54"/>
                    <a:pt x="0" y="56"/>
                  </a:cubicBezTo>
                  <a:cubicBezTo>
                    <a:pt x="0" y="57"/>
                    <a:pt x="0" y="59"/>
                    <a:pt x="0" y="60"/>
                  </a:cubicBezTo>
                  <a:cubicBezTo>
                    <a:pt x="15" y="57"/>
                    <a:pt x="26" y="44"/>
                    <a:pt x="26" y="28"/>
                  </a:cubicBezTo>
                  <a:cubicBezTo>
                    <a:pt x="26" y="16"/>
                    <a:pt x="19" y="6"/>
                    <a:pt x="10" y="0"/>
                  </a:cubicBezTo>
                  <a:cubicBezTo>
                    <a:pt x="9" y="3"/>
                    <a:pt x="8" y="6"/>
                    <a:pt x="7" y="9"/>
                  </a:cubicBezTo>
                  <a:cubicBezTo>
                    <a:pt x="12" y="14"/>
                    <a:pt x="15" y="21"/>
                    <a:pt x="1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58" name="Freeform 46"/>
            <p:cNvSpPr>
              <a:spLocks/>
            </p:cNvSpPr>
            <p:nvPr/>
          </p:nvSpPr>
          <p:spPr bwMode="auto">
            <a:xfrm>
              <a:off x="2088" y="1461"/>
              <a:ext cx="334" cy="454"/>
            </a:xfrm>
            <a:custGeom>
              <a:avLst/>
              <a:gdLst>
                <a:gd name="T0" fmla="*/ 13 w 47"/>
                <a:gd name="T1" fmla="*/ 9 h 64"/>
                <a:gd name="T2" fmla="*/ 37 w 47"/>
                <a:gd name="T3" fmla="*/ 33 h 64"/>
                <a:gd name="T4" fmla="*/ 19 w 47"/>
                <a:gd name="T5" fmla="*/ 56 h 64"/>
                <a:gd name="T6" fmla="*/ 25 w 47"/>
                <a:gd name="T7" fmla="*/ 64 h 64"/>
                <a:gd name="T8" fmla="*/ 47 w 47"/>
                <a:gd name="T9" fmla="*/ 33 h 64"/>
                <a:gd name="T10" fmla="*/ 13 w 47"/>
                <a:gd name="T11" fmla="*/ 0 h 64"/>
                <a:gd name="T12" fmla="*/ 0 w 47"/>
                <a:gd name="T13" fmla="*/ 2 h 64"/>
                <a:gd name="T14" fmla="*/ 2 w 47"/>
                <a:gd name="T15" fmla="*/ 12 h 64"/>
                <a:gd name="T16" fmla="*/ 13 w 47"/>
                <a:gd name="T17" fmla="*/ 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64">
                  <a:moveTo>
                    <a:pt x="13" y="9"/>
                  </a:moveTo>
                  <a:cubicBezTo>
                    <a:pt x="28" y="9"/>
                    <a:pt x="37" y="21"/>
                    <a:pt x="37" y="33"/>
                  </a:cubicBezTo>
                  <a:cubicBezTo>
                    <a:pt x="37" y="44"/>
                    <a:pt x="30" y="53"/>
                    <a:pt x="19" y="56"/>
                  </a:cubicBezTo>
                  <a:cubicBezTo>
                    <a:pt x="21" y="59"/>
                    <a:pt x="23" y="62"/>
                    <a:pt x="25" y="64"/>
                  </a:cubicBezTo>
                  <a:cubicBezTo>
                    <a:pt x="38" y="60"/>
                    <a:pt x="47" y="48"/>
                    <a:pt x="47" y="33"/>
                  </a:cubicBezTo>
                  <a:cubicBezTo>
                    <a:pt x="47" y="15"/>
                    <a:pt x="32" y="0"/>
                    <a:pt x="13" y="0"/>
                  </a:cubicBezTo>
                  <a:cubicBezTo>
                    <a:pt x="8" y="0"/>
                    <a:pt x="4" y="1"/>
                    <a:pt x="0" y="2"/>
                  </a:cubicBezTo>
                  <a:cubicBezTo>
                    <a:pt x="0" y="6"/>
                    <a:pt x="1" y="9"/>
                    <a:pt x="2" y="12"/>
                  </a:cubicBezTo>
                  <a:cubicBezTo>
                    <a:pt x="5" y="10"/>
                    <a:pt x="9" y="9"/>
                    <a:pt x="13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59" name="Freeform 47"/>
            <p:cNvSpPr>
              <a:spLocks/>
            </p:cNvSpPr>
            <p:nvPr/>
          </p:nvSpPr>
          <p:spPr bwMode="auto">
            <a:xfrm>
              <a:off x="3082" y="1468"/>
              <a:ext cx="355" cy="461"/>
            </a:xfrm>
            <a:custGeom>
              <a:avLst/>
              <a:gdLst>
                <a:gd name="T0" fmla="*/ 39 w 50"/>
                <a:gd name="T1" fmla="*/ 0 h 65"/>
                <a:gd name="T2" fmla="*/ 39 w 50"/>
                <a:gd name="T3" fmla="*/ 39 h 65"/>
                <a:gd name="T4" fmla="*/ 25 w 50"/>
                <a:gd name="T5" fmla="*/ 56 h 65"/>
                <a:gd name="T6" fmla="*/ 11 w 50"/>
                <a:gd name="T7" fmla="*/ 39 h 65"/>
                <a:gd name="T8" fmla="*/ 11 w 50"/>
                <a:gd name="T9" fmla="*/ 0 h 65"/>
                <a:gd name="T10" fmla="*/ 0 w 50"/>
                <a:gd name="T11" fmla="*/ 0 h 65"/>
                <a:gd name="T12" fmla="*/ 0 w 50"/>
                <a:gd name="T13" fmla="*/ 41 h 65"/>
                <a:gd name="T14" fmla="*/ 25 w 50"/>
                <a:gd name="T15" fmla="*/ 65 h 65"/>
                <a:gd name="T16" fmla="*/ 50 w 50"/>
                <a:gd name="T17" fmla="*/ 41 h 65"/>
                <a:gd name="T18" fmla="*/ 50 w 50"/>
                <a:gd name="T19" fmla="*/ 0 h 65"/>
                <a:gd name="T20" fmla="*/ 39 w 50"/>
                <a:gd name="T21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65">
                  <a:moveTo>
                    <a:pt x="39" y="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39" y="48"/>
                    <a:pt x="36" y="56"/>
                    <a:pt x="25" y="56"/>
                  </a:cubicBezTo>
                  <a:cubicBezTo>
                    <a:pt x="13" y="56"/>
                    <a:pt x="11" y="48"/>
                    <a:pt x="11" y="39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55"/>
                    <a:pt x="9" y="65"/>
                    <a:pt x="25" y="65"/>
                  </a:cubicBezTo>
                  <a:cubicBezTo>
                    <a:pt x="41" y="65"/>
                    <a:pt x="50" y="55"/>
                    <a:pt x="50" y="41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9" y="0"/>
                    <a:pt x="39" y="0"/>
                    <a:pt x="3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60" name="Freeform 48"/>
            <p:cNvSpPr>
              <a:spLocks/>
            </p:cNvSpPr>
            <p:nvPr/>
          </p:nvSpPr>
          <p:spPr bwMode="auto">
            <a:xfrm>
              <a:off x="3345" y="241"/>
              <a:ext cx="277" cy="447"/>
            </a:xfrm>
            <a:custGeom>
              <a:avLst/>
              <a:gdLst>
                <a:gd name="T0" fmla="*/ 78 w 277"/>
                <a:gd name="T1" fmla="*/ 383 h 447"/>
                <a:gd name="T2" fmla="*/ 277 w 277"/>
                <a:gd name="T3" fmla="*/ 383 h 447"/>
                <a:gd name="T4" fmla="*/ 277 w 277"/>
                <a:gd name="T5" fmla="*/ 447 h 447"/>
                <a:gd name="T6" fmla="*/ 0 w 277"/>
                <a:gd name="T7" fmla="*/ 447 h 447"/>
                <a:gd name="T8" fmla="*/ 0 w 277"/>
                <a:gd name="T9" fmla="*/ 0 h 447"/>
                <a:gd name="T10" fmla="*/ 78 w 277"/>
                <a:gd name="T11" fmla="*/ 0 h 447"/>
                <a:gd name="T12" fmla="*/ 78 w 277"/>
                <a:gd name="T13" fmla="*/ 383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447">
                  <a:moveTo>
                    <a:pt x="78" y="383"/>
                  </a:moveTo>
                  <a:lnTo>
                    <a:pt x="277" y="383"/>
                  </a:lnTo>
                  <a:lnTo>
                    <a:pt x="277" y="447"/>
                  </a:lnTo>
                  <a:lnTo>
                    <a:pt x="0" y="447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3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61" name="Freeform 49"/>
            <p:cNvSpPr>
              <a:spLocks/>
            </p:cNvSpPr>
            <p:nvPr/>
          </p:nvSpPr>
          <p:spPr bwMode="auto">
            <a:xfrm>
              <a:off x="3345" y="241"/>
              <a:ext cx="277" cy="447"/>
            </a:xfrm>
            <a:custGeom>
              <a:avLst/>
              <a:gdLst>
                <a:gd name="T0" fmla="*/ 78 w 277"/>
                <a:gd name="T1" fmla="*/ 383 h 447"/>
                <a:gd name="T2" fmla="*/ 277 w 277"/>
                <a:gd name="T3" fmla="*/ 383 h 447"/>
                <a:gd name="T4" fmla="*/ 277 w 277"/>
                <a:gd name="T5" fmla="*/ 447 h 447"/>
                <a:gd name="T6" fmla="*/ 0 w 277"/>
                <a:gd name="T7" fmla="*/ 447 h 447"/>
                <a:gd name="T8" fmla="*/ 0 w 277"/>
                <a:gd name="T9" fmla="*/ 0 h 447"/>
                <a:gd name="T10" fmla="*/ 78 w 277"/>
                <a:gd name="T11" fmla="*/ 0 h 447"/>
                <a:gd name="T12" fmla="*/ 78 w 277"/>
                <a:gd name="T13" fmla="*/ 383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447">
                  <a:moveTo>
                    <a:pt x="78" y="383"/>
                  </a:moveTo>
                  <a:lnTo>
                    <a:pt x="277" y="383"/>
                  </a:lnTo>
                  <a:lnTo>
                    <a:pt x="277" y="447"/>
                  </a:lnTo>
                  <a:lnTo>
                    <a:pt x="0" y="447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383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62" name="Freeform 50"/>
            <p:cNvSpPr>
              <a:spLocks/>
            </p:cNvSpPr>
            <p:nvPr/>
          </p:nvSpPr>
          <p:spPr bwMode="auto">
            <a:xfrm>
              <a:off x="909" y="851"/>
              <a:ext cx="270" cy="454"/>
            </a:xfrm>
            <a:custGeom>
              <a:avLst/>
              <a:gdLst>
                <a:gd name="T0" fmla="*/ 0 w 270"/>
                <a:gd name="T1" fmla="*/ 0 h 454"/>
                <a:gd name="T2" fmla="*/ 270 w 270"/>
                <a:gd name="T3" fmla="*/ 0 h 454"/>
                <a:gd name="T4" fmla="*/ 270 w 270"/>
                <a:gd name="T5" fmla="*/ 71 h 454"/>
                <a:gd name="T6" fmla="*/ 78 w 270"/>
                <a:gd name="T7" fmla="*/ 71 h 454"/>
                <a:gd name="T8" fmla="*/ 78 w 270"/>
                <a:gd name="T9" fmla="*/ 177 h 454"/>
                <a:gd name="T10" fmla="*/ 263 w 270"/>
                <a:gd name="T11" fmla="*/ 177 h 454"/>
                <a:gd name="T12" fmla="*/ 263 w 270"/>
                <a:gd name="T13" fmla="*/ 241 h 454"/>
                <a:gd name="T14" fmla="*/ 78 w 270"/>
                <a:gd name="T15" fmla="*/ 241 h 454"/>
                <a:gd name="T16" fmla="*/ 78 w 270"/>
                <a:gd name="T17" fmla="*/ 390 h 454"/>
                <a:gd name="T18" fmla="*/ 270 w 270"/>
                <a:gd name="T19" fmla="*/ 390 h 454"/>
                <a:gd name="T20" fmla="*/ 270 w 270"/>
                <a:gd name="T21" fmla="*/ 454 h 454"/>
                <a:gd name="T22" fmla="*/ 0 w 270"/>
                <a:gd name="T23" fmla="*/ 454 h 454"/>
                <a:gd name="T24" fmla="*/ 0 w 270"/>
                <a:gd name="T25" fmla="*/ 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0" h="454">
                  <a:moveTo>
                    <a:pt x="0" y="0"/>
                  </a:moveTo>
                  <a:lnTo>
                    <a:pt x="270" y="0"/>
                  </a:lnTo>
                  <a:lnTo>
                    <a:pt x="270" y="71"/>
                  </a:lnTo>
                  <a:lnTo>
                    <a:pt x="78" y="71"/>
                  </a:lnTo>
                  <a:lnTo>
                    <a:pt x="78" y="177"/>
                  </a:lnTo>
                  <a:lnTo>
                    <a:pt x="263" y="177"/>
                  </a:lnTo>
                  <a:lnTo>
                    <a:pt x="263" y="241"/>
                  </a:lnTo>
                  <a:lnTo>
                    <a:pt x="78" y="241"/>
                  </a:lnTo>
                  <a:lnTo>
                    <a:pt x="78" y="390"/>
                  </a:lnTo>
                  <a:lnTo>
                    <a:pt x="270" y="390"/>
                  </a:lnTo>
                  <a:lnTo>
                    <a:pt x="270" y="454"/>
                  </a:lnTo>
                  <a:lnTo>
                    <a:pt x="0" y="45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63" name="Freeform 51"/>
            <p:cNvSpPr>
              <a:spLocks/>
            </p:cNvSpPr>
            <p:nvPr/>
          </p:nvSpPr>
          <p:spPr bwMode="auto">
            <a:xfrm>
              <a:off x="909" y="851"/>
              <a:ext cx="270" cy="454"/>
            </a:xfrm>
            <a:custGeom>
              <a:avLst/>
              <a:gdLst>
                <a:gd name="T0" fmla="*/ 0 w 270"/>
                <a:gd name="T1" fmla="*/ 0 h 454"/>
                <a:gd name="T2" fmla="*/ 270 w 270"/>
                <a:gd name="T3" fmla="*/ 0 h 454"/>
                <a:gd name="T4" fmla="*/ 270 w 270"/>
                <a:gd name="T5" fmla="*/ 71 h 454"/>
                <a:gd name="T6" fmla="*/ 78 w 270"/>
                <a:gd name="T7" fmla="*/ 71 h 454"/>
                <a:gd name="T8" fmla="*/ 78 w 270"/>
                <a:gd name="T9" fmla="*/ 177 h 454"/>
                <a:gd name="T10" fmla="*/ 263 w 270"/>
                <a:gd name="T11" fmla="*/ 177 h 454"/>
                <a:gd name="T12" fmla="*/ 263 w 270"/>
                <a:gd name="T13" fmla="*/ 241 h 454"/>
                <a:gd name="T14" fmla="*/ 78 w 270"/>
                <a:gd name="T15" fmla="*/ 241 h 454"/>
                <a:gd name="T16" fmla="*/ 78 w 270"/>
                <a:gd name="T17" fmla="*/ 390 h 454"/>
                <a:gd name="T18" fmla="*/ 270 w 270"/>
                <a:gd name="T19" fmla="*/ 390 h 454"/>
                <a:gd name="T20" fmla="*/ 270 w 270"/>
                <a:gd name="T21" fmla="*/ 454 h 454"/>
                <a:gd name="T22" fmla="*/ 0 w 270"/>
                <a:gd name="T23" fmla="*/ 454 h 454"/>
                <a:gd name="T24" fmla="*/ 0 w 270"/>
                <a:gd name="T25" fmla="*/ 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0" h="454">
                  <a:moveTo>
                    <a:pt x="0" y="0"/>
                  </a:moveTo>
                  <a:lnTo>
                    <a:pt x="270" y="0"/>
                  </a:lnTo>
                  <a:lnTo>
                    <a:pt x="270" y="71"/>
                  </a:lnTo>
                  <a:lnTo>
                    <a:pt x="78" y="71"/>
                  </a:lnTo>
                  <a:lnTo>
                    <a:pt x="78" y="177"/>
                  </a:lnTo>
                  <a:lnTo>
                    <a:pt x="263" y="177"/>
                  </a:lnTo>
                  <a:lnTo>
                    <a:pt x="263" y="241"/>
                  </a:lnTo>
                  <a:lnTo>
                    <a:pt x="78" y="241"/>
                  </a:lnTo>
                  <a:lnTo>
                    <a:pt x="78" y="390"/>
                  </a:lnTo>
                  <a:lnTo>
                    <a:pt x="270" y="390"/>
                  </a:lnTo>
                  <a:lnTo>
                    <a:pt x="270" y="454"/>
                  </a:lnTo>
                  <a:lnTo>
                    <a:pt x="0" y="454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64" name="Freeform 52"/>
            <p:cNvSpPr>
              <a:spLocks/>
            </p:cNvSpPr>
            <p:nvPr/>
          </p:nvSpPr>
          <p:spPr bwMode="auto">
            <a:xfrm>
              <a:off x="2408" y="830"/>
              <a:ext cx="383" cy="496"/>
            </a:xfrm>
            <a:custGeom>
              <a:avLst/>
              <a:gdLst>
                <a:gd name="T0" fmla="*/ 0 w 383"/>
                <a:gd name="T1" fmla="*/ 0 h 496"/>
                <a:gd name="T2" fmla="*/ 305 w 383"/>
                <a:gd name="T3" fmla="*/ 319 h 496"/>
                <a:gd name="T4" fmla="*/ 305 w 383"/>
                <a:gd name="T5" fmla="*/ 21 h 496"/>
                <a:gd name="T6" fmla="*/ 383 w 383"/>
                <a:gd name="T7" fmla="*/ 21 h 496"/>
                <a:gd name="T8" fmla="*/ 383 w 383"/>
                <a:gd name="T9" fmla="*/ 496 h 496"/>
                <a:gd name="T10" fmla="*/ 71 w 383"/>
                <a:gd name="T11" fmla="*/ 177 h 496"/>
                <a:gd name="T12" fmla="*/ 71 w 383"/>
                <a:gd name="T13" fmla="*/ 475 h 496"/>
                <a:gd name="T14" fmla="*/ 0 w 383"/>
                <a:gd name="T15" fmla="*/ 475 h 496"/>
                <a:gd name="T16" fmla="*/ 0 w 383"/>
                <a:gd name="T17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3" h="496">
                  <a:moveTo>
                    <a:pt x="0" y="0"/>
                  </a:moveTo>
                  <a:lnTo>
                    <a:pt x="305" y="319"/>
                  </a:lnTo>
                  <a:lnTo>
                    <a:pt x="305" y="21"/>
                  </a:lnTo>
                  <a:lnTo>
                    <a:pt x="383" y="21"/>
                  </a:lnTo>
                  <a:lnTo>
                    <a:pt x="383" y="496"/>
                  </a:lnTo>
                  <a:lnTo>
                    <a:pt x="71" y="177"/>
                  </a:lnTo>
                  <a:lnTo>
                    <a:pt x="71" y="475"/>
                  </a:lnTo>
                  <a:lnTo>
                    <a:pt x="0" y="47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65" name="Freeform 53"/>
            <p:cNvSpPr>
              <a:spLocks/>
            </p:cNvSpPr>
            <p:nvPr/>
          </p:nvSpPr>
          <p:spPr bwMode="auto">
            <a:xfrm>
              <a:off x="2408" y="830"/>
              <a:ext cx="383" cy="496"/>
            </a:xfrm>
            <a:custGeom>
              <a:avLst/>
              <a:gdLst>
                <a:gd name="T0" fmla="*/ 0 w 383"/>
                <a:gd name="T1" fmla="*/ 0 h 496"/>
                <a:gd name="T2" fmla="*/ 305 w 383"/>
                <a:gd name="T3" fmla="*/ 319 h 496"/>
                <a:gd name="T4" fmla="*/ 305 w 383"/>
                <a:gd name="T5" fmla="*/ 21 h 496"/>
                <a:gd name="T6" fmla="*/ 383 w 383"/>
                <a:gd name="T7" fmla="*/ 21 h 496"/>
                <a:gd name="T8" fmla="*/ 383 w 383"/>
                <a:gd name="T9" fmla="*/ 496 h 496"/>
                <a:gd name="T10" fmla="*/ 71 w 383"/>
                <a:gd name="T11" fmla="*/ 177 h 496"/>
                <a:gd name="T12" fmla="*/ 71 w 383"/>
                <a:gd name="T13" fmla="*/ 475 h 496"/>
                <a:gd name="T14" fmla="*/ 0 w 383"/>
                <a:gd name="T15" fmla="*/ 475 h 496"/>
                <a:gd name="T16" fmla="*/ 0 w 383"/>
                <a:gd name="T17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3" h="496">
                  <a:moveTo>
                    <a:pt x="0" y="0"/>
                  </a:moveTo>
                  <a:lnTo>
                    <a:pt x="305" y="319"/>
                  </a:lnTo>
                  <a:lnTo>
                    <a:pt x="305" y="21"/>
                  </a:lnTo>
                  <a:lnTo>
                    <a:pt x="383" y="21"/>
                  </a:lnTo>
                  <a:lnTo>
                    <a:pt x="383" y="496"/>
                  </a:lnTo>
                  <a:lnTo>
                    <a:pt x="71" y="177"/>
                  </a:lnTo>
                  <a:lnTo>
                    <a:pt x="71" y="475"/>
                  </a:lnTo>
                  <a:lnTo>
                    <a:pt x="0" y="47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66" name="Rectangle 54"/>
            <p:cNvSpPr>
              <a:spLocks noChangeArrowheads="1"/>
            </p:cNvSpPr>
            <p:nvPr/>
          </p:nvSpPr>
          <p:spPr bwMode="auto">
            <a:xfrm>
              <a:off x="4261" y="851"/>
              <a:ext cx="78" cy="45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67" name="Freeform 55"/>
            <p:cNvSpPr>
              <a:spLocks/>
            </p:cNvSpPr>
            <p:nvPr/>
          </p:nvSpPr>
          <p:spPr bwMode="auto">
            <a:xfrm>
              <a:off x="1570" y="1468"/>
              <a:ext cx="241" cy="454"/>
            </a:xfrm>
            <a:custGeom>
              <a:avLst/>
              <a:gdLst>
                <a:gd name="T0" fmla="*/ 71 w 241"/>
                <a:gd name="T1" fmla="*/ 64 h 454"/>
                <a:gd name="T2" fmla="*/ 71 w 241"/>
                <a:gd name="T3" fmla="*/ 178 h 454"/>
                <a:gd name="T4" fmla="*/ 234 w 241"/>
                <a:gd name="T5" fmla="*/ 178 h 454"/>
                <a:gd name="T6" fmla="*/ 234 w 241"/>
                <a:gd name="T7" fmla="*/ 241 h 454"/>
                <a:gd name="T8" fmla="*/ 71 w 241"/>
                <a:gd name="T9" fmla="*/ 241 h 454"/>
                <a:gd name="T10" fmla="*/ 71 w 241"/>
                <a:gd name="T11" fmla="*/ 454 h 454"/>
                <a:gd name="T12" fmla="*/ 0 w 241"/>
                <a:gd name="T13" fmla="*/ 454 h 454"/>
                <a:gd name="T14" fmla="*/ 0 w 241"/>
                <a:gd name="T15" fmla="*/ 0 h 454"/>
                <a:gd name="T16" fmla="*/ 241 w 241"/>
                <a:gd name="T17" fmla="*/ 0 h 454"/>
                <a:gd name="T18" fmla="*/ 241 w 241"/>
                <a:gd name="T19" fmla="*/ 64 h 454"/>
                <a:gd name="T20" fmla="*/ 71 w 241"/>
                <a:gd name="T21" fmla="*/ 64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1" h="454">
                  <a:moveTo>
                    <a:pt x="71" y="64"/>
                  </a:moveTo>
                  <a:lnTo>
                    <a:pt x="71" y="178"/>
                  </a:lnTo>
                  <a:lnTo>
                    <a:pt x="234" y="178"/>
                  </a:lnTo>
                  <a:lnTo>
                    <a:pt x="234" y="241"/>
                  </a:lnTo>
                  <a:lnTo>
                    <a:pt x="71" y="241"/>
                  </a:lnTo>
                  <a:lnTo>
                    <a:pt x="71" y="454"/>
                  </a:lnTo>
                  <a:lnTo>
                    <a:pt x="0" y="454"/>
                  </a:lnTo>
                  <a:lnTo>
                    <a:pt x="0" y="0"/>
                  </a:lnTo>
                  <a:lnTo>
                    <a:pt x="241" y="0"/>
                  </a:lnTo>
                  <a:lnTo>
                    <a:pt x="241" y="64"/>
                  </a:lnTo>
                  <a:lnTo>
                    <a:pt x="71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68" name="Freeform 56"/>
            <p:cNvSpPr>
              <a:spLocks/>
            </p:cNvSpPr>
            <p:nvPr/>
          </p:nvSpPr>
          <p:spPr bwMode="auto">
            <a:xfrm>
              <a:off x="1570" y="1468"/>
              <a:ext cx="241" cy="454"/>
            </a:xfrm>
            <a:custGeom>
              <a:avLst/>
              <a:gdLst>
                <a:gd name="T0" fmla="*/ 71 w 241"/>
                <a:gd name="T1" fmla="*/ 64 h 454"/>
                <a:gd name="T2" fmla="*/ 71 w 241"/>
                <a:gd name="T3" fmla="*/ 178 h 454"/>
                <a:gd name="T4" fmla="*/ 234 w 241"/>
                <a:gd name="T5" fmla="*/ 178 h 454"/>
                <a:gd name="T6" fmla="*/ 234 w 241"/>
                <a:gd name="T7" fmla="*/ 241 h 454"/>
                <a:gd name="T8" fmla="*/ 71 w 241"/>
                <a:gd name="T9" fmla="*/ 241 h 454"/>
                <a:gd name="T10" fmla="*/ 71 w 241"/>
                <a:gd name="T11" fmla="*/ 454 h 454"/>
                <a:gd name="T12" fmla="*/ 0 w 241"/>
                <a:gd name="T13" fmla="*/ 454 h 454"/>
                <a:gd name="T14" fmla="*/ 0 w 241"/>
                <a:gd name="T15" fmla="*/ 0 h 454"/>
                <a:gd name="T16" fmla="*/ 241 w 241"/>
                <a:gd name="T17" fmla="*/ 0 h 454"/>
                <a:gd name="T18" fmla="*/ 241 w 241"/>
                <a:gd name="T19" fmla="*/ 64 h 454"/>
                <a:gd name="T20" fmla="*/ 71 w 241"/>
                <a:gd name="T21" fmla="*/ 64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1" h="454">
                  <a:moveTo>
                    <a:pt x="71" y="64"/>
                  </a:moveTo>
                  <a:lnTo>
                    <a:pt x="71" y="178"/>
                  </a:lnTo>
                  <a:lnTo>
                    <a:pt x="234" y="178"/>
                  </a:lnTo>
                  <a:lnTo>
                    <a:pt x="234" y="241"/>
                  </a:lnTo>
                  <a:lnTo>
                    <a:pt x="71" y="241"/>
                  </a:lnTo>
                  <a:lnTo>
                    <a:pt x="71" y="454"/>
                  </a:lnTo>
                  <a:lnTo>
                    <a:pt x="0" y="454"/>
                  </a:lnTo>
                  <a:lnTo>
                    <a:pt x="0" y="0"/>
                  </a:lnTo>
                  <a:lnTo>
                    <a:pt x="241" y="0"/>
                  </a:lnTo>
                  <a:lnTo>
                    <a:pt x="241" y="64"/>
                  </a:lnTo>
                  <a:lnTo>
                    <a:pt x="71" y="64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69" name="Freeform 57"/>
            <p:cNvSpPr>
              <a:spLocks/>
            </p:cNvSpPr>
            <p:nvPr/>
          </p:nvSpPr>
          <p:spPr bwMode="auto">
            <a:xfrm>
              <a:off x="1520" y="226"/>
              <a:ext cx="568" cy="483"/>
            </a:xfrm>
            <a:custGeom>
              <a:avLst/>
              <a:gdLst>
                <a:gd name="T0" fmla="*/ 419 w 568"/>
                <a:gd name="T1" fmla="*/ 298 h 483"/>
                <a:gd name="T2" fmla="*/ 426 w 568"/>
                <a:gd name="T3" fmla="*/ 298 h 483"/>
                <a:gd name="T4" fmla="*/ 497 w 568"/>
                <a:gd name="T5" fmla="*/ 15 h 483"/>
                <a:gd name="T6" fmla="*/ 568 w 568"/>
                <a:gd name="T7" fmla="*/ 15 h 483"/>
                <a:gd name="T8" fmla="*/ 440 w 568"/>
                <a:gd name="T9" fmla="*/ 483 h 483"/>
                <a:gd name="T10" fmla="*/ 284 w 568"/>
                <a:gd name="T11" fmla="*/ 142 h 483"/>
                <a:gd name="T12" fmla="*/ 121 w 568"/>
                <a:gd name="T13" fmla="*/ 483 h 483"/>
                <a:gd name="T14" fmla="*/ 0 w 568"/>
                <a:gd name="T15" fmla="*/ 15 h 483"/>
                <a:gd name="T16" fmla="*/ 71 w 568"/>
                <a:gd name="T17" fmla="*/ 15 h 483"/>
                <a:gd name="T18" fmla="*/ 142 w 568"/>
                <a:gd name="T19" fmla="*/ 298 h 483"/>
                <a:gd name="T20" fmla="*/ 142 w 568"/>
                <a:gd name="T21" fmla="*/ 298 h 483"/>
                <a:gd name="T22" fmla="*/ 284 w 568"/>
                <a:gd name="T23" fmla="*/ 0 h 483"/>
                <a:gd name="T24" fmla="*/ 419 w 568"/>
                <a:gd name="T25" fmla="*/ 298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68" h="483">
                  <a:moveTo>
                    <a:pt x="419" y="298"/>
                  </a:moveTo>
                  <a:lnTo>
                    <a:pt x="426" y="298"/>
                  </a:lnTo>
                  <a:lnTo>
                    <a:pt x="497" y="15"/>
                  </a:lnTo>
                  <a:lnTo>
                    <a:pt x="568" y="15"/>
                  </a:lnTo>
                  <a:lnTo>
                    <a:pt x="440" y="483"/>
                  </a:lnTo>
                  <a:lnTo>
                    <a:pt x="284" y="142"/>
                  </a:lnTo>
                  <a:lnTo>
                    <a:pt x="121" y="483"/>
                  </a:lnTo>
                  <a:lnTo>
                    <a:pt x="0" y="15"/>
                  </a:lnTo>
                  <a:lnTo>
                    <a:pt x="71" y="15"/>
                  </a:lnTo>
                  <a:lnTo>
                    <a:pt x="142" y="298"/>
                  </a:lnTo>
                  <a:lnTo>
                    <a:pt x="142" y="298"/>
                  </a:lnTo>
                  <a:lnTo>
                    <a:pt x="284" y="0"/>
                  </a:lnTo>
                  <a:lnTo>
                    <a:pt x="419" y="2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70" name="Freeform 58"/>
            <p:cNvSpPr>
              <a:spLocks/>
            </p:cNvSpPr>
            <p:nvPr/>
          </p:nvSpPr>
          <p:spPr bwMode="auto">
            <a:xfrm>
              <a:off x="1520" y="226"/>
              <a:ext cx="568" cy="483"/>
            </a:xfrm>
            <a:custGeom>
              <a:avLst/>
              <a:gdLst>
                <a:gd name="T0" fmla="*/ 419 w 568"/>
                <a:gd name="T1" fmla="*/ 298 h 483"/>
                <a:gd name="T2" fmla="*/ 426 w 568"/>
                <a:gd name="T3" fmla="*/ 298 h 483"/>
                <a:gd name="T4" fmla="*/ 497 w 568"/>
                <a:gd name="T5" fmla="*/ 15 h 483"/>
                <a:gd name="T6" fmla="*/ 568 w 568"/>
                <a:gd name="T7" fmla="*/ 15 h 483"/>
                <a:gd name="T8" fmla="*/ 440 w 568"/>
                <a:gd name="T9" fmla="*/ 483 h 483"/>
                <a:gd name="T10" fmla="*/ 284 w 568"/>
                <a:gd name="T11" fmla="*/ 142 h 483"/>
                <a:gd name="T12" fmla="*/ 121 w 568"/>
                <a:gd name="T13" fmla="*/ 483 h 483"/>
                <a:gd name="T14" fmla="*/ 0 w 568"/>
                <a:gd name="T15" fmla="*/ 15 h 483"/>
                <a:gd name="T16" fmla="*/ 71 w 568"/>
                <a:gd name="T17" fmla="*/ 15 h 483"/>
                <a:gd name="T18" fmla="*/ 142 w 568"/>
                <a:gd name="T19" fmla="*/ 298 h 483"/>
                <a:gd name="T20" fmla="*/ 142 w 568"/>
                <a:gd name="T21" fmla="*/ 298 h 483"/>
                <a:gd name="T22" fmla="*/ 284 w 568"/>
                <a:gd name="T23" fmla="*/ 0 h 483"/>
                <a:gd name="T24" fmla="*/ 419 w 568"/>
                <a:gd name="T25" fmla="*/ 298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68" h="483">
                  <a:moveTo>
                    <a:pt x="419" y="298"/>
                  </a:moveTo>
                  <a:lnTo>
                    <a:pt x="426" y="298"/>
                  </a:lnTo>
                  <a:lnTo>
                    <a:pt x="497" y="15"/>
                  </a:lnTo>
                  <a:lnTo>
                    <a:pt x="568" y="15"/>
                  </a:lnTo>
                  <a:lnTo>
                    <a:pt x="440" y="483"/>
                  </a:lnTo>
                  <a:lnTo>
                    <a:pt x="284" y="142"/>
                  </a:lnTo>
                  <a:lnTo>
                    <a:pt x="121" y="483"/>
                  </a:lnTo>
                  <a:lnTo>
                    <a:pt x="0" y="15"/>
                  </a:lnTo>
                  <a:lnTo>
                    <a:pt x="71" y="15"/>
                  </a:lnTo>
                  <a:lnTo>
                    <a:pt x="142" y="298"/>
                  </a:lnTo>
                  <a:lnTo>
                    <a:pt x="142" y="298"/>
                  </a:lnTo>
                  <a:lnTo>
                    <a:pt x="284" y="0"/>
                  </a:lnTo>
                  <a:lnTo>
                    <a:pt x="419" y="29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71" name="Freeform 59"/>
            <p:cNvSpPr>
              <a:spLocks/>
            </p:cNvSpPr>
            <p:nvPr/>
          </p:nvSpPr>
          <p:spPr bwMode="auto">
            <a:xfrm>
              <a:off x="3530" y="837"/>
              <a:ext cx="568" cy="482"/>
            </a:xfrm>
            <a:custGeom>
              <a:avLst/>
              <a:gdLst>
                <a:gd name="T0" fmla="*/ 142 w 568"/>
                <a:gd name="T1" fmla="*/ 184 h 482"/>
                <a:gd name="T2" fmla="*/ 142 w 568"/>
                <a:gd name="T3" fmla="*/ 184 h 482"/>
                <a:gd name="T4" fmla="*/ 71 w 568"/>
                <a:gd name="T5" fmla="*/ 468 h 482"/>
                <a:gd name="T6" fmla="*/ 0 w 568"/>
                <a:gd name="T7" fmla="*/ 468 h 482"/>
                <a:gd name="T8" fmla="*/ 128 w 568"/>
                <a:gd name="T9" fmla="*/ 0 h 482"/>
                <a:gd name="T10" fmla="*/ 284 w 568"/>
                <a:gd name="T11" fmla="*/ 340 h 482"/>
                <a:gd name="T12" fmla="*/ 440 w 568"/>
                <a:gd name="T13" fmla="*/ 0 h 482"/>
                <a:gd name="T14" fmla="*/ 568 w 568"/>
                <a:gd name="T15" fmla="*/ 468 h 482"/>
                <a:gd name="T16" fmla="*/ 497 w 568"/>
                <a:gd name="T17" fmla="*/ 468 h 482"/>
                <a:gd name="T18" fmla="*/ 426 w 568"/>
                <a:gd name="T19" fmla="*/ 184 h 482"/>
                <a:gd name="T20" fmla="*/ 426 w 568"/>
                <a:gd name="T21" fmla="*/ 184 h 482"/>
                <a:gd name="T22" fmla="*/ 284 w 568"/>
                <a:gd name="T23" fmla="*/ 482 h 482"/>
                <a:gd name="T24" fmla="*/ 142 w 568"/>
                <a:gd name="T25" fmla="*/ 184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68" h="482">
                  <a:moveTo>
                    <a:pt x="142" y="184"/>
                  </a:moveTo>
                  <a:lnTo>
                    <a:pt x="142" y="184"/>
                  </a:lnTo>
                  <a:lnTo>
                    <a:pt x="71" y="468"/>
                  </a:lnTo>
                  <a:lnTo>
                    <a:pt x="0" y="468"/>
                  </a:lnTo>
                  <a:lnTo>
                    <a:pt x="128" y="0"/>
                  </a:lnTo>
                  <a:lnTo>
                    <a:pt x="284" y="340"/>
                  </a:lnTo>
                  <a:lnTo>
                    <a:pt x="440" y="0"/>
                  </a:lnTo>
                  <a:lnTo>
                    <a:pt x="568" y="468"/>
                  </a:lnTo>
                  <a:lnTo>
                    <a:pt x="497" y="468"/>
                  </a:lnTo>
                  <a:lnTo>
                    <a:pt x="426" y="184"/>
                  </a:lnTo>
                  <a:lnTo>
                    <a:pt x="426" y="184"/>
                  </a:lnTo>
                  <a:lnTo>
                    <a:pt x="284" y="482"/>
                  </a:lnTo>
                  <a:lnTo>
                    <a:pt x="142" y="1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72" name="Freeform 60"/>
            <p:cNvSpPr>
              <a:spLocks/>
            </p:cNvSpPr>
            <p:nvPr/>
          </p:nvSpPr>
          <p:spPr bwMode="auto">
            <a:xfrm>
              <a:off x="3530" y="837"/>
              <a:ext cx="568" cy="482"/>
            </a:xfrm>
            <a:custGeom>
              <a:avLst/>
              <a:gdLst>
                <a:gd name="T0" fmla="*/ 142 w 568"/>
                <a:gd name="T1" fmla="*/ 184 h 482"/>
                <a:gd name="T2" fmla="*/ 142 w 568"/>
                <a:gd name="T3" fmla="*/ 184 h 482"/>
                <a:gd name="T4" fmla="*/ 71 w 568"/>
                <a:gd name="T5" fmla="*/ 468 h 482"/>
                <a:gd name="T6" fmla="*/ 0 w 568"/>
                <a:gd name="T7" fmla="*/ 468 h 482"/>
                <a:gd name="T8" fmla="*/ 128 w 568"/>
                <a:gd name="T9" fmla="*/ 0 h 482"/>
                <a:gd name="T10" fmla="*/ 284 w 568"/>
                <a:gd name="T11" fmla="*/ 340 h 482"/>
                <a:gd name="T12" fmla="*/ 440 w 568"/>
                <a:gd name="T13" fmla="*/ 0 h 482"/>
                <a:gd name="T14" fmla="*/ 568 w 568"/>
                <a:gd name="T15" fmla="*/ 468 h 482"/>
                <a:gd name="T16" fmla="*/ 497 w 568"/>
                <a:gd name="T17" fmla="*/ 468 h 482"/>
                <a:gd name="T18" fmla="*/ 426 w 568"/>
                <a:gd name="T19" fmla="*/ 184 h 482"/>
                <a:gd name="T20" fmla="*/ 426 w 568"/>
                <a:gd name="T21" fmla="*/ 184 h 482"/>
                <a:gd name="T22" fmla="*/ 284 w 568"/>
                <a:gd name="T23" fmla="*/ 482 h 482"/>
                <a:gd name="T24" fmla="*/ 142 w 568"/>
                <a:gd name="T25" fmla="*/ 184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68" h="482">
                  <a:moveTo>
                    <a:pt x="142" y="184"/>
                  </a:moveTo>
                  <a:lnTo>
                    <a:pt x="142" y="184"/>
                  </a:lnTo>
                  <a:lnTo>
                    <a:pt x="71" y="468"/>
                  </a:lnTo>
                  <a:lnTo>
                    <a:pt x="0" y="468"/>
                  </a:lnTo>
                  <a:lnTo>
                    <a:pt x="128" y="0"/>
                  </a:lnTo>
                  <a:lnTo>
                    <a:pt x="284" y="340"/>
                  </a:lnTo>
                  <a:lnTo>
                    <a:pt x="440" y="0"/>
                  </a:lnTo>
                  <a:lnTo>
                    <a:pt x="568" y="468"/>
                  </a:lnTo>
                  <a:lnTo>
                    <a:pt x="497" y="468"/>
                  </a:lnTo>
                  <a:lnTo>
                    <a:pt x="426" y="184"/>
                  </a:lnTo>
                  <a:lnTo>
                    <a:pt x="426" y="184"/>
                  </a:lnTo>
                  <a:lnTo>
                    <a:pt x="284" y="482"/>
                  </a:lnTo>
                  <a:lnTo>
                    <a:pt x="142" y="184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73" name="Freeform 61"/>
            <p:cNvSpPr>
              <a:spLocks/>
            </p:cNvSpPr>
            <p:nvPr/>
          </p:nvSpPr>
          <p:spPr bwMode="auto">
            <a:xfrm>
              <a:off x="3565" y="1454"/>
              <a:ext cx="575" cy="475"/>
            </a:xfrm>
            <a:custGeom>
              <a:avLst/>
              <a:gdLst>
                <a:gd name="T0" fmla="*/ 149 w 575"/>
                <a:gd name="T1" fmla="*/ 184 h 475"/>
                <a:gd name="T2" fmla="*/ 149 w 575"/>
                <a:gd name="T3" fmla="*/ 184 h 475"/>
                <a:gd name="T4" fmla="*/ 78 w 575"/>
                <a:gd name="T5" fmla="*/ 468 h 475"/>
                <a:gd name="T6" fmla="*/ 0 w 575"/>
                <a:gd name="T7" fmla="*/ 468 h 475"/>
                <a:gd name="T8" fmla="*/ 128 w 575"/>
                <a:gd name="T9" fmla="*/ 0 h 475"/>
                <a:gd name="T10" fmla="*/ 291 w 575"/>
                <a:gd name="T11" fmla="*/ 341 h 475"/>
                <a:gd name="T12" fmla="*/ 448 w 575"/>
                <a:gd name="T13" fmla="*/ 0 h 475"/>
                <a:gd name="T14" fmla="*/ 575 w 575"/>
                <a:gd name="T15" fmla="*/ 468 h 475"/>
                <a:gd name="T16" fmla="*/ 504 w 575"/>
                <a:gd name="T17" fmla="*/ 468 h 475"/>
                <a:gd name="T18" fmla="*/ 426 w 575"/>
                <a:gd name="T19" fmla="*/ 184 h 475"/>
                <a:gd name="T20" fmla="*/ 426 w 575"/>
                <a:gd name="T21" fmla="*/ 184 h 475"/>
                <a:gd name="T22" fmla="*/ 291 w 575"/>
                <a:gd name="T23" fmla="*/ 475 h 475"/>
                <a:gd name="T24" fmla="*/ 149 w 575"/>
                <a:gd name="T25" fmla="*/ 184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475">
                  <a:moveTo>
                    <a:pt x="149" y="184"/>
                  </a:moveTo>
                  <a:lnTo>
                    <a:pt x="149" y="184"/>
                  </a:lnTo>
                  <a:lnTo>
                    <a:pt x="78" y="468"/>
                  </a:lnTo>
                  <a:lnTo>
                    <a:pt x="0" y="468"/>
                  </a:lnTo>
                  <a:lnTo>
                    <a:pt x="128" y="0"/>
                  </a:lnTo>
                  <a:lnTo>
                    <a:pt x="291" y="341"/>
                  </a:lnTo>
                  <a:lnTo>
                    <a:pt x="448" y="0"/>
                  </a:lnTo>
                  <a:lnTo>
                    <a:pt x="575" y="468"/>
                  </a:lnTo>
                  <a:lnTo>
                    <a:pt x="504" y="468"/>
                  </a:lnTo>
                  <a:lnTo>
                    <a:pt x="426" y="184"/>
                  </a:lnTo>
                  <a:lnTo>
                    <a:pt x="426" y="184"/>
                  </a:lnTo>
                  <a:lnTo>
                    <a:pt x="291" y="475"/>
                  </a:lnTo>
                  <a:lnTo>
                    <a:pt x="149" y="1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74" name="Freeform 62"/>
            <p:cNvSpPr>
              <a:spLocks/>
            </p:cNvSpPr>
            <p:nvPr/>
          </p:nvSpPr>
          <p:spPr bwMode="auto">
            <a:xfrm>
              <a:off x="3565" y="1454"/>
              <a:ext cx="575" cy="475"/>
            </a:xfrm>
            <a:custGeom>
              <a:avLst/>
              <a:gdLst>
                <a:gd name="T0" fmla="*/ 149 w 575"/>
                <a:gd name="T1" fmla="*/ 184 h 475"/>
                <a:gd name="T2" fmla="*/ 149 w 575"/>
                <a:gd name="T3" fmla="*/ 184 h 475"/>
                <a:gd name="T4" fmla="*/ 78 w 575"/>
                <a:gd name="T5" fmla="*/ 468 h 475"/>
                <a:gd name="T6" fmla="*/ 0 w 575"/>
                <a:gd name="T7" fmla="*/ 468 h 475"/>
                <a:gd name="T8" fmla="*/ 128 w 575"/>
                <a:gd name="T9" fmla="*/ 0 h 475"/>
                <a:gd name="T10" fmla="*/ 291 w 575"/>
                <a:gd name="T11" fmla="*/ 341 h 475"/>
                <a:gd name="T12" fmla="*/ 448 w 575"/>
                <a:gd name="T13" fmla="*/ 0 h 475"/>
                <a:gd name="T14" fmla="*/ 575 w 575"/>
                <a:gd name="T15" fmla="*/ 468 h 475"/>
                <a:gd name="T16" fmla="*/ 504 w 575"/>
                <a:gd name="T17" fmla="*/ 468 h 475"/>
                <a:gd name="T18" fmla="*/ 426 w 575"/>
                <a:gd name="T19" fmla="*/ 184 h 475"/>
                <a:gd name="T20" fmla="*/ 426 w 575"/>
                <a:gd name="T21" fmla="*/ 184 h 475"/>
                <a:gd name="T22" fmla="*/ 291 w 575"/>
                <a:gd name="T23" fmla="*/ 475 h 475"/>
                <a:gd name="T24" fmla="*/ 149 w 575"/>
                <a:gd name="T25" fmla="*/ 184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475">
                  <a:moveTo>
                    <a:pt x="149" y="184"/>
                  </a:moveTo>
                  <a:lnTo>
                    <a:pt x="149" y="184"/>
                  </a:lnTo>
                  <a:lnTo>
                    <a:pt x="78" y="468"/>
                  </a:lnTo>
                  <a:lnTo>
                    <a:pt x="0" y="468"/>
                  </a:lnTo>
                  <a:lnTo>
                    <a:pt x="128" y="0"/>
                  </a:lnTo>
                  <a:lnTo>
                    <a:pt x="291" y="341"/>
                  </a:lnTo>
                  <a:lnTo>
                    <a:pt x="448" y="0"/>
                  </a:lnTo>
                  <a:lnTo>
                    <a:pt x="575" y="468"/>
                  </a:lnTo>
                  <a:lnTo>
                    <a:pt x="504" y="468"/>
                  </a:lnTo>
                  <a:lnTo>
                    <a:pt x="426" y="184"/>
                  </a:lnTo>
                  <a:lnTo>
                    <a:pt x="426" y="184"/>
                  </a:lnTo>
                  <a:lnTo>
                    <a:pt x="291" y="475"/>
                  </a:lnTo>
                  <a:lnTo>
                    <a:pt x="149" y="184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75" name="Freeform 63"/>
            <p:cNvSpPr>
              <a:spLocks noEditPoints="1"/>
            </p:cNvSpPr>
            <p:nvPr/>
          </p:nvSpPr>
          <p:spPr bwMode="auto">
            <a:xfrm>
              <a:off x="2585" y="1468"/>
              <a:ext cx="348" cy="454"/>
            </a:xfrm>
            <a:custGeom>
              <a:avLst/>
              <a:gdLst>
                <a:gd name="T0" fmla="*/ 17 w 49"/>
                <a:gd name="T1" fmla="*/ 0 h 64"/>
                <a:gd name="T2" fmla="*/ 35 w 49"/>
                <a:gd name="T3" fmla="*/ 3 h 64"/>
                <a:gd name="T4" fmla="*/ 44 w 49"/>
                <a:gd name="T5" fmla="*/ 18 h 64"/>
                <a:gd name="T6" fmla="*/ 28 w 49"/>
                <a:gd name="T7" fmla="*/ 36 h 64"/>
                <a:gd name="T8" fmla="*/ 49 w 49"/>
                <a:gd name="T9" fmla="*/ 64 h 64"/>
                <a:gd name="T10" fmla="*/ 37 w 49"/>
                <a:gd name="T11" fmla="*/ 64 h 64"/>
                <a:gd name="T12" fmla="*/ 17 w 49"/>
                <a:gd name="T13" fmla="*/ 37 h 64"/>
                <a:gd name="T14" fmla="*/ 10 w 49"/>
                <a:gd name="T15" fmla="*/ 37 h 64"/>
                <a:gd name="T16" fmla="*/ 10 w 49"/>
                <a:gd name="T17" fmla="*/ 64 h 64"/>
                <a:gd name="T18" fmla="*/ 0 w 49"/>
                <a:gd name="T19" fmla="*/ 64 h 64"/>
                <a:gd name="T20" fmla="*/ 0 w 49"/>
                <a:gd name="T21" fmla="*/ 0 h 64"/>
                <a:gd name="T22" fmla="*/ 17 w 49"/>
                <a:gd name="T23" fmla="*/ 0 h 64"/>
                <a:gd name="T24" fmla="*/ 10 w 49"/>
                <a:gd name="T25" fmla="*/ 29 h 64"/>
                <a:gd name="T26" fmla="*/ 15 w 49"/>
                <a:gd name="T27" fmla="*/ 29 h 64"/>
                <a:gd name="T28" fmla="*/ 33 w 49"/>
                <a:gd name="T29" fmla="*/ 19 h 64"/>
                <a:gd name="T30" fmla="*/ 15 w 49"/>
                <a:gd name="T31" fmla="*/ 9 h 64"/>
                <a:gd name="T32" fmla="*/ 10 w 49"/>
                <a:gd name="T33" fmla="*/ 9 h 64"/>
                <a:gd name="T34" fmla="*/ 10 w 49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9" h="64">
                  <a:moveTo>
                    <a:pt x="17" y="0"/>
                  </a:moveTo>
                  <a:cubicBezTo>
                    <a:pt x="23" y="0"/>
                    <a:pt x="30" y="0"/>
                    <a:pt x="35" y="3"/>
                  </a:cubicBezTo>
                  <a:cubicBezTo>
                    <a:pt x="40" y="6"/>
                    <a:pt x="44" y="12"/>
                    <a:pt x="44" y="18"/>
                  </a:cubicBezTo>
                  <a:cubicBezTo>
                    <a:pt x="44" y="28"/>
                    <a:pt x="37" y="35"/>
                    <a:pt x="28" y="36"/>
                  </a:cubicBezTo>
                  <a:cubicBezTo>
                    <a:pt x="49" y="64"/>
                    <a:pt x="49" y="64"/>
                    <a:pt x="49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0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24" y="29"/>
                    <a:pt x="33" y="29"/>
                    <a:pt x="33" y="19"/>
                  </a:cubicBezTo>
                  <a:cubicBezTo>
                    <a:pt x="33" y="9"/>
                    <a:pt x="23" y="9"/>
                    <a:pt x="15" y="9"/>
                  </a:cubicBezTo>
                  <a:cubicBezTo>
                    <a:pt x="10" y="9"/>
                    <a:pt x="10" y="9"/>
                    <a:pt x="10" y="9"/>
                  </a:cubicBezTo>
                  <a:lnTo>
                    <a:pt x="10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76" name="Freeform 64"/>
            <p:cNvSpPr>
              <a:spLocks noEditPoints="1"/>
            </p:cNvSpPr>
            <p:nvPr/>
          </p:nvSpPr>
          <p:spPr bwMode="auto">
            <a:xfrm>
              <a:off x="2841" y="241"/>
              <a:ext cx="341" cy="447"/>
            </a:xfrm>
            <a:custGeom>
              <a:avLst/>
              <a:gdLst>
                <a:gd name="T0" fmla="*/ 17 w 48"/>
                <a:gd name="T1" fmla="*/ 0 h 63"/>
                <a:gd name="T2" fmla="*/ 35 w 48"/>
                <a:gd name="T3" fmla="*/ 3 h 63"/>
                <a:gd name="T4" fmla="*/ 43 w 48"/>
                <a:gd name="T5" fmla="*/ 18 h 63"/>
                <a:gd name="T6" fmla="*/ 28 w 48"/>
                <a:gd name="T7" fmla="*/ 36 h 63"/>
                <a:gd name="T8" fmla="*/ 48 w 48"/>
                <a:gd name="T9" fmla="*/ 63 h 63"/>
                <a:gd name="T10" fmla="*/ 36 w 48"/>
                <a:gd name="T11" fmla="*/ 63 h 63"/>
                <a:gd name="T12" fmla="*/ 17 w 48"/>
                <a:gd name="T13" fmla="*/ 36 h 63"/>
                <a:gd name="T14" fmla="*/ 10 w 48"/>
                <a:gd name="T15" fmla="*/ 36 h 63"/>
                <a:gd name="T16" fmla="*/ 10 w 48"/>
                <a:gd name="T17" fmla="*/ 63 h 63"/>
                <a:gd name="T18" fmla="*/ 0 w 48"/>
                <a:gd name="T19" fmla="*/ 63 h 63"/>
                <a:gd name="T20" fmla="*/ 0 w 48"/>
                <a:gd name="T21" fmla="*/ 0 h 63"/>
                <a:gd name="T22" fmla="*/ 17 w 48"/>
                <a:gd name="T23" fmla="*/ 0 h 63"/>
                <a:gd name="T24" fmla="*/ 10 w 48"/>
                <a:gd name="T25" fmla="*/ 28 h 63"/>
                <a:gd name="T26" fmla="*/ 15 w 48"/>
                <a:gd name="T27" fmla="*/ 28 h 63"/>
                <a:gd name="T28" fmla="*/ 33 w 48"/>
                <a:gd name="T29" fmla="*/ 18 h 63"/>
                <a:gd name="T30" fmla="*/ 15 w 48"/>
                <a:gd name="T31" fmla="*/ 8 h 63"/>
                <a:gd name="T32" fmla="*/ 10 w 48"/>
                <a:gd name="T33" fmla="*/ 8 h 63"/>
                <a:gd name="T34" fmla="*/ 10 w 48"/>
                <a:gd name="T35" fmla="*/ 28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" h="63">
                  <a:moveTo>
                    <a:pt x="17" y="0"/>
                  </a:moveTo>
                  <a:cubicBezTo>
                    <a:pt x="23" y="0"/>
                    <a:pt x="30" y="0"/>
                    <a:pt x="35" y="3"/>
                  </a:cubicBezTo>
                  <a:cubicBezTo>
                    <a:pt x="40" y="6"/>
                    <a:pt x="43" y="12"/>
                    <a:pt x="43" y="18"/>
                  </a:cubicBezTo>
                  <a:cubicBezTo>
                    <a:pt x="43" y="27"/>
                    <a:pt x="37" y="35"/>
                    <a:pt x="28" y="36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63"/>
                    <a:pt x="10" y="63"/>
                    <a:pt x="10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0" y="28"/>
                  </a:moveTo>
                  <a:cubicBezTo>
                    <a:pt x="15" y="28"/>
                    <a:pt x="15" y="28"/>
                    <a:pt x="15" y="28"/>
                  </a:cubicBezTo>
                  <a:cubicBezTo>
                    <a:pt x="23" y="28"/>
                    <a:pt x="33" y="28"/>
                    <a:pt x="33" y="18"/>
                  </a:cubicBezTo>
                  <a:cubicBezTo>
                    <a:pt x="33" y="8"/>
                    <a:pt x="23" y="8"/>
                    <a:pt x="15" y="8"/>
                  </a:cubicBezTo>
                  <a:cubicBezTo>
                    <a:pt x="10" y="8"/>
                    <a:pt x="10" y="8"/>
                    <a:pt x="10" y="8"/>
                  </a:cubicBezTo>
                  <a:lnTo>
                    <a:pt x="1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77" name="Freeform 65"/>
            <p:cNvSpPr>
              <a:spLocks noEditPoints="1"/>
            </p:cNvSpPr>
            <p:nvPr/>
          </p:nvSpPr>
          <p:spPr bwMode="auto">
            <a:xfrm>
              <a:off x="3757" y="241"/>
              <a:ext cx="383" cy="447"/>
            </a:xfrm>
            <a:custGeom>
              <a:avLst/>
              <a:gdLst>
                <a:gd name="T0" fmla="*/ 10 w 54"/>
                <a:gd name="T1" fmla="*/ 54 h 63"/>
                <a:gd name="T2" fmla="*/ 16 w 54"/>
                <a:gd name="T3" fmla="*/ 54 h 63"/>
                <a:gd name="T4" fmla="*/ 44 w 54"/>
                <a:gd name="T5" fmla="*/ 31 h 63"/>
                <a:gd name="T6" fmla="*/ 16 w 54"/>
                <a:gd name="T7" fmla="*/ 8 h 63"/>
                <a:gd name="T8" fmla="*/ 10 w 54"/>
                <a:gd name="T9" fmla="*/ 8 h 63"/>
                <a:gd name="T10" fmla="*/ 10 w 54"/>
                <a:gd name="T11" fmla="*/ 54 h 63"/>
                <a:gd name="T12" fmla="*/ 0 w 54"/>
                <a:gd name="T13" fmla="*/ 0 h 63"/>
                <a:gd name="T14" fmla="*/ 17 w 54"/>
                <a:gd name="T15" fmla="*/ 0 h 63"/>
                <a:gd name="T16" fmla="*/ 54 w 54"/>
                <a:gd name="T17" fmla="*/ 31 h 63"/>
                <a:gd name="T18" fmla="*/ 17 w 54"/>
                <a:gd name="T19" fmla="*/ 63 h 63"/>
                <a:gd name="T20" fmla="*/ 0 w 54"/>
                <a:gd name="T21" fmla="*/ 63 h 63"/>
                <a:gd name="T22" fmla="*/ 0 w 54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" h="63">
                  <a:moveTo>
                    <a:pt x="10" y="54"/>
                  </a:moveTo>
                  <a:cubicBezTo>
                    <a:pt x="16" y="54"/>
                    <a:pt x="16" y="54"/>
                    <a:pt x="16" y="54"/>
                  </a:cubicBezTo>
                  <a:cubicBezTo>
                    <a:pt x="30" y="54"/>
                    <a:pt x="44" y="49"/>
                    <a:pt x="44" y="31"/>
                  </a:cubicBezTo>
                  <a:cubicBezTo>
                    <a:pt x="44" y="13"/>
                    <a:pt x="30" y="8"/>
                    <a:pt x="16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54"/>
                    <a:pt x="10" y="54"/>
                    <a:pt x="10" y="54"/>
                  </a:cubicBezTo>
                  <a:moveTo>
                    <a:pt x="0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37" y="0"/>
                    <a:pt x="54" y="9"/>
                    <a:pt x="54" y="31"/>
                  </a:cubicBezTo>
                  <a:cubicBezTo>
                    <a:pt x="54" y="53"/>
                    <a:pt x="38" y="63"/>
                    <a:pt x="17" y="63"/>
                  </a:cubicBezTo>
                  <a:cubicBezTo>
                    <a:pt x="0" y="63"/>
                    <a:pt x="0" y="63"/>
                    <a:pt x="0" y="63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78" name="Freeform 66"/>
            <p:cNvSpPr>
              <a:spLocks/>
            </p:cNvSpPr>
            <p:nvPr/>
          </p:nvSpPr>
          <p:spPr bwMode="auto">
            <a:xfrm>
              <a:off x="4510" y="844"/>
              <a:ext cx="362" cy="468"/>
            </a:xfrm>
            <a:custGeom>
              <a:avLst/>
              <a:gdLst>
                <a:gd name="T0" fmla="*/ 46 w 51"/>
                <a:gd name="T1" fmla="*/ 54 h 66"/>
                <a:gd name="T2" fmla="*/ 34 w 51"/>
                <a:gd name="T3" fmla="*/ 57 h 66"/>
                <a:gd name="T4" fmla="*/ 10 w 51"/>
                <a:gd name="T5" fmla="*/ 33 h 66"/>
                <a:gd name="T6" fmla="*/ 34 w 51"/>
                <a:gd name="T7" fmla="*/ 9 h 66"/>
                <a:gd name="T8" fmla="*/ 46 w 51"/>
                <a:gd name="T9" fmla="*/ 12 h 66"/>
                <a:gd name="T10" fmla="*/ 51 w 51"/>
                <a:gd name="T11" fmla="*/ 4 h 66"/>
                <a:gd name="T12" fmla="*/ 34 w 51"/>
                <a:gd name="T13" fmla="*/ 0 h 66"/>
                <a:gd name="T14" fmla="*/ 0 w 51"/>
                <a:gd name="T15" fmla="*/ 33 h 66"/>
                <a:gd name="T16" fmla="*/ 34 w 51"/>
                <a:gd name="T17" fmla="*/ 66 h 66"/>
                <a:gd name="T18" fmla="*/ 51 w 51"/>
                <a:gd name="T19" fmla="*/ 62 h 66"/>
                <a:gd name="T20" fmla="*/ 46 w 51"/>
                <a:gd name="T21" fmla="*/ 5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" h="66">
                  <a:moveTo>
                    <a:pt x="46" y="54"/>
                  </a:moveTo>
                  <a:cubicBezTo>
                    <a:pt x="42" y="56"/>
                    <a:pt x="38" y="57"/>
                    <a:pt x="34" y="57"/>
                  </a:cubicBezTo>
                  <a:cubicBezTo>
                    <a:pt x="20" y="57"/>
                    <a:pt x="10" y="46"/>
                    <a:pt x="10" y="33"/>
                  </a:cubicBezTo>
                  <a:cubicBezTo>
                    <a:pt x="10" y="21"/>
                    <a:pt x="19" y="9"/>
                    <a:pt x="34" y="9"/>
                  </a:cubicBezTo>
                  <a:cubicBezTo>
                    <a:pt x="38" y="9"/>
                    <a:pt x="42" y="10"/>
                    <a:pt x="46" y="12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46" y="2"/>
                    <a:pt x="40" y="0"/>
                    <a:pt x="34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2"/>
                    <a:pt x="15" y="66"/>
                    <a:pt x="34" y="66"/>
                  </a:cubicBezTo>
                  <a:cubicBezTo>
                    <a:pt x="40" y="66"/>
                    <a:pt x="46" y="65"/>
                    <a:pt x="51" y="62"/>
                  </a:cubicBezTo>
                  <a:cubicBezTo>
                    <a:pt x="46" y="54"/>
                    <a:pt x="46" y="54"/>
                    <a:pt x="46" y="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79" name="Freeform 67"/>
            <p:cNvSpPr>
              <a:spLocks/>
            </p:cNvSpPr>
            <p:nvPr/>
          </p:nvSpPr>
          <p:spPr bwMode="auto">
            <a:xfrm>
              <a:off x="1321" y="844"/>
              <a:ext cx="362" cy="468"/>
            </a:xfrm>
            <a:custGeom>
              <a:avLst/>
              <a:gdLst>
                <a:gd name="T0" fmla="*/ 46 w 51"/>
                <a:gd name="T1" fmla="*/ 54 h 66"/>
                <a:gd name="T2" fmla="*/ 34 w 51"/>
                <a:gd name="T3" fmla="*/ 57 h 66"/>
                <a:gd name="T4" fmla="*/ 10 w 51"/>
                <a:gd name="T5" fmla="*/ 33 h 66"/>
                <a:gd name="T6" fmla="*/ 34 w 51"/>
                <a:gd name="T7" fmla="*/ 9 h 66"/>
                <a:gd name="T8" fmla="*/ 46 w 51"/>
                <a:gd name="T9" fmla="*/ 12 h 66"/>
                <a:gd name="T10" fmla="*/ 51 w 51"/>
                <a:gd name="T11" fmla="*/ 4 h 66"/>
                <a:gd name="T12" fmla="*/ 34 w 51"/>
                <a:gd name="T13" fmla="*/ 0 h 66"/>
                <a:gd name="T14" fmla="*/ 0 w 51"/>
                <a:gd name="T15" fmla="*/ 33 h 66"/>
                <a:gd name="T16" fmla="*/ 34 w 51"/>
                <a:gd name="T17" fmla="*/ 66 h 66"/>
                <a:gd name="T18" fmla="*/ 51 w 51"/>
                <a:gd name="T19" fmla="*/ 62 h 66"/>
                <a:gd name="T20" fmla="*/ 46 w 51"/>
                <a:gd name="T21" fmla="*/ 5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" h="66">
                  <a:moveTo>
                    <a:pt x="46" y="54"/>
                  </a:moveTo>
                  <a:cubicBezTo>
                    <a:pt x="42" y="56"/>
                    <a:pt x="38" y="57"/>
                    <a:pt x="34" y="57"/>
                  </a:cubicBezTo>
                  <a:cubicBezTo>
                    <a:pt x="20" y="57"/>
                    <a:pt x="10" y="46"/>
                    <a:pt x="10" y="33"/>
                  </a:cubicBezTo>
                  <a:cubicBezTo>
                    <a:pt x="10" y="21"/>
                    <a:pt x="19" y="9"/>
                    <a:pt x="34" y="9"/>
                  </a:cubicBezTo>
                  <a:cubicBezTo>
                    <a:pt x="38" y="9"/>
                    <a:pt x="42" y="10"/>
                    <a:pt x="46" y="12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46" y="2"/>
                    <a:pt x="40" y="0"/>
                    <a:pt x="34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2"/>
                    <a:pt x="15" y="66"/>
                    <a:pt x="34" y="66"/>
                  </a:cubicBezTo>
                  <a:cubicBezTo>
                    <a:pt x="40" y="66"/>
                    <a:pt x="46" y="65"/>
                    <a:pt x="51" y="62"/>
                  </a:cubicBezTo>
                  <a:cubicBezTo>
                    <a:pt x="46" y="54"/>
                    <a:pt x="46" y="54"/>
                    <a:pt x="46" y="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80" name="Freeform 68"/>
            <p:cNvSpPr>
              <a:spLocks noEditPoints="1"/>
            </p:cNvSpPr>
            <p:nvPr/>
          </p:nvSpPr>
          <p:spPr bwMode="auto">
            <a:xfrm>
              <a:off x="1762" y="120"/>
              <a:ext cx="2371" cy="2441"/>
            </a:xfrm>
            <a:custGeom>
              <a:avLst/>
              <a:gdLst>
                <a:gd name="T0" fmla="*/ 329 w 334"/>
                <a:gd name="T1" fmla="*/ 297 h 344"/>
                <a:gd name="T2" fmla="*/ 329 w 334"/>
                <a:gd name="T3" fmla="*/ 297 h 344"/>
                <a:gd name="T4" fmla="*/ 329 w 334"/>
                <a:gd name="T5" fmla="*/ 296 h 344"/>
                <a:gd name="T6" fmla="*/ 328 w 334"/>
                <a:gd name="T7" fmla="*/ 296 h 344"/>
                <a:gd name="T8" fmla="*/ 328 w 334"/>
                <a:gd name="T9" fmla="*/ 296 h 344"/>
                <a:gd name="T10" fmla="*/ 327 w 334"/>
                <a:gd name="T11" fmla="*/ 294 h 344"/>
                <a:gd name="T12" fmla="*/ 215 w 334"/>
                <a:gd name="T13" fmla="*/ 334 h 344"/>
                <a:gd name="T14" fmla="*/ 91 w 334"/>
                <a:gd name="T15" fmla="*/ 284 h 344"/>
                <a:gd name="T16" fmla="*/ 40 w 334"/>
                <a:gd name="T17" fmla="*/ 163 h 344"/>
                <a:gd name="T18" fmla="*/ 72 w 334"/>
                <a:gd name="T19" fmla="*/ 65 h 344"/>
                <a:gd name="T20" fmla="*/ 153 w 334"/>
                <a:gd name="T21" fmla="*/ 3 h 344"/>
                <a:gd name="T22" fmla="*/ 151 w 334"/>
                <a:gd name="T23" fmla="*/ 0 h 344"/>
                <a:gd name="T24" fmla="*/ 113 w 334"/>
                <a:gd name="T25" fmla="*/ 20 h 344"/>
                <a:gd name="T26" fmla="*/ 96 w 334"/>
                <a:gd name="T27" fmla="*/ 15 h 344"/>
                <a:gd name="T28" fmla="*/ 61 w 334"/>
                <a:gd name="T29" fmla="*/ 49 h 344"/>
                <a:gd name="T30" fmla="*/ 66 w 334"/>
                <a:gd name="T31" fmla="*/ 66 h 344"/>
                <a:gd name="T32" fmla="*/ 47 w 334"/>
                <a:gd name="T33" fmla="*/ 105 h 344"/>
                <a:gd name="T34" fmla="*/ 47 w 334"/>
                <a:gd name="T35" fmla="*/ 104 h 344"/>
                <a:gd name="T36" fmla="*/ 35 w 334"/>
                <a:gd name="T37" fmla="*/ 102 h 344"/>
                <a:gd name="T38" fmla="*/ 0 w 334"/>
                <a:gd name="T39" fmla="*/ 135 h 344"/>
                <a:gd name="T40" fmla="*/ 35 w 334"/>
                <a:gd name="T41" fmla="*/ 168 h 344"/>
                <a:gd name="T42" fmla="*/ 37 w 334"/>
                <a:gd name="T43" fmla="*/ 168 h 344"/>
                <a:gd name="T44" fmla="*/ 40 w 334"/>
                <a:gd name="T45" fmla="*/ 195 h 344"/>
                <a:gd name="T46" fmla="*/ 25 w 334"/>
                <a:gd name="T47" fmla="*/ 222 h 344"/>
                <a:gd name="T48" fmla="*/ 59 w 334"/>
                <a:gd name="T49" fmla="*/ 255 h 344"/>
                <a:gd name="T50" fmla="*/ 63 w 334"/>
                <a:gd name="T51" fmla="*/ 255 h 344"/>
                <a:gd name="T52" fmla="*/ 89 w 334"/>
                <a:gd name="T53" fmla="*/ 286 h 344"/>
                <a:gd name="T54" fmla="*/ 99 w 334"/>
                <a:gd name="T55" fmla="*/ 295 h 344"/>
                <a:gd name="T56" fmla="*/ 94 w 334"/>
                <a:gd name="T57" fmla="*/ 300 h 344"/>
                <a:gd name="T58" fmla="*/ 215 w 334"/>
                <a:gd name="T59" fmla="*/ 344 h 344"/>
                <a:gd name="T60" fmla="*/ 334 w 334"/>
                <a:gd name="T61" fmla="*/ 302 h 344"/>
                <a:gd name="T62" fmla="*/ 329 w 334"/>
                <a:gd name="T63" fmla="*/ 297 h 344"/>
                <a:gd name="T64" fmla="*/ 96 w 334"/>
                <a:gd name="T65" fmla="*/ 25 h 344"/>
                <a:gd name="T66" fmla="*/ 104 w 334"/>
                <a:gd name="T67" fmla="*/ 26 h 344"/>
                <a:gd name="T68" fmla="*/ 73 w 334"/>
                <a:gd name="T69" fmla="*/ 58 h 344"/>
                <a:gd name="T70" fmla="*/ 73 w 334"/>
                <a:gd name="T71" fmla="*/ 57 h 344"/>
                <a:gd name="T72" fmla="*/ 72 w 334"/>
                <a:gd name="T73" fmla="*/ 49 h 344"/>
                <a:gd name="T74" fmla="*/ 96 w 334"/>
                <a:gd name="T75" fmla="*/ 25 h 344"/>
                <a:gd name="T76" fmla="*/ 11 w 334"/>
                <a:gd name="T77" fmla="*/ 135 h 344"/>
                <a:gd name="T78" fmla="*/ 35 w 334"/>
                <a:gd name="T79" fmla="*/ 111 h 344"/>
                <a:gd name="T80" fmla="*/ 44 w 334"/>
                <a:gd name="T81" fmla="*/ 113 h 344"/>
                <a:gd name="T82" fmla="*/ 37 w 334"/>
                <a:gd name="T83" fmla="*/ 159 h 344"/>
                <a:gd name="T84" fmla="*/ 35 w 334"/>
                <a:gd name="T85" fmla="*/ 159 h 344"/>
                <a:gd name="T86" fmla="*/ 11 w 334"/>
                <a:gd name="T87" fmla="*/ 135 h 344"/>
                <a:gd name="T88" fmla="*/ 35 w 334"/>
                <a:gd name="T89" fmla="*/ 222 h 344"/>
                <a:gd name="T90" fmla="*/ 42 w 334"/>
                <a:gd name="T91" fmla="*/ 205 h 344"/>
                <a:gd name="T92" fmla="*/ 58 w 334"/>
                <a:gd name="T93" fmla="*/ 246 h 344"/>
                <a:gd name="T94" fmla="*/ 35 w 334"/>
                <a:gd name="T95" fmla="*/ 222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34" h="344">
                  <a:moveTo>
                    <a:pt x="329" y="297"/>
                  </a:moveTo>
                  <a:cubicBezTo>
                    <a:pt x="329" y="297"/>
                    <a:pt x="329" y="297"/>
                    <a:pt x="329" y="297"/>
                  </a:cubicBezTo>
                  <a:cubicBezTo>
                    <a:pt x="329" y="296"/>
                    <a:pt x="329" y="296"/>
                    <a:pt x="329" y="296"/>
                  </a:cubicBezTo>
                  <a:cubicBezTo>
                    <a:pt x="328" y="296"/>
                    <a:pt x="328" y="296"/>
                    <a:pt x="328" y="296"/>
                  </a:cubicBezTo>
                  <a:cubicBezTo>
                    <a:pt x="328" y="296"/>
                    <a:pt x="328" y="296"/>
                    <a:pt x="328" y="296"/>
                  </a:cubicBezTo>
                  <a:cubicBezTo>
                    <a:pt x="327" y="294"/>
                    <a:pt x="327" y="294"/>
                    <a:pt x="327" y="294"/>
                  </a:cubicBezTo>
                  <a:cubicBezTo>
                    <a:pt x="296" y="320"/>
                    <a:pt x="256" y="334"/>
                    <a:pt x="215" y="334"/>
                  </a:cubicBezTo>
                  <a:cubicBezTo>
                    <a:pt x="168" y="334"/>
                    <a:pt x="124" y="316"/>
                    <a:pt x="91" y="284"/>
                  </a:cubicBezTo>
                  <a:cubicBezTo>
                    <a:pt x="58" y="251"/>
                    <a:pt x="40" y="208"/>
                    <a:pt x="40" y="163"/>
                  </a:cubicBezTo>
                  <a:cubicBezTo>
                    <a:pt x="40" y="128"/>
                    <a:pt x="51" y="94"/>
                    <a:pt x="72" y="65"/>
                  </a:cubicBezTo>
                  <a:cubicBezTo>
                    <a:pt x="92" y="37"/>
                    <a:pt x="120" y="15"/>
                    <a:pt x="153" y="3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38" y="5"/>
                    <a:pt x="125" y="12"/>
                    <a:pt x="113" y="20"/>
                  </a:cubicBezTo>
                  <a:cubicBezTo>
                    <a:pt x="108" y="17"/>
                    <a:pt x="102" y="15"/>
                    <a:pt x="96" y="15"/>
                  </a:cubicBezTo>
                  <a:cubicBezTo>
                    <a:pt x="77" y="15"/>
                    <a:pt x="61" y="30"/>
                    <a:pt x="61" y="49"/>
                  </a:cubicBezTo>
                  <a:cubicBezTo>
                    <a:pt x="61" y="55"/>
                    <a:pt x="63" y="61"/>
                    <a:pt x="66" y="66"/>
                  </a:cubicBezTo>
                  <a:cubicBezTo>
                    <a:pt x="58" y="78"/>
                    <a:pt x="51" y="92"/>
                    <a:pt x="47" y="105"/>
                  </a:cubicBezTo>
                  <a:cubicBezTo>
                    <a:pt x="47" y="105"/>
                    <a:pt x="47" y="104"/>
                    <a:pt x="47" y="104"/>
                  </a:cubicBezTo>
                  <a:cubicBezTo>
                    <a:pt x="43" y="103"/>
                    <a:pt x="39" y="102"/>
                    <a:pt x="35" y="102"/>
                  </a:cubicBezTo>
                  <a:cubicBezTo>
                    <a:pt x="16" y="102"/>
                    <a:pt x="0" y="117"/>
                    <a:pt x="0" y="135"/>
                  </a:cubicBezTo>
                  <a:cubicBezTo>
                    <a:pt x="0" y="154"/>
                    <a:pt x="16" y="168"/>
                    <a:pt x="35" y="168"/>
                  </a:cubicBezTo>
                  <a:cubicBezTo>
                    <a:pt x="35" y="168"/>
                    <a:pt x="36" y="168"/>
                    <a:pt x="37" y="168"/>
                  </a:cubicBezTo>
                  <a:cubicBezTo>
                    <a:pt x="37" y="177"/>
                    <a:pt x="38" y="186"/>
                    <a:pt x="40" y="195"/>
                  </a:cubicBezTo>
                  <a:cubicBezTo>
                    <a:pt x="31" y="201"/>
                    <a:pt x="25" y="211"/>
                    <a:pt x="25" y="222"/>
                  </a:cubicBezTo>
                  <a:cubicBezTo>
                    <a:pt x="25" y="241"/>
                    <a:pt x="40" y="255"/>
                    <a:pt x="59" y="255"/>
                  </a:cubicBezTo>
                  <a:cubicBezTo>
                    <a:pt x="61" y="255"/>
                    <a:pt x="62" y="255"/>
                    <a:pt x="63" y="255"/>
                  </a:cubicBezTo>
                  <a:cubicBezTo>
                    <a:pt x="71" y="266"/>
                    <a:pt x="79" y="277"/>
                    <a:pt x="89" y="286"/>
                  </a:cubicBezTo>
                  <a:cubicBezTo>
                    <a:pt x="92" y="289"/>
                    <a:pt x="95" y="292"/>
                    <a:pt x="99" y="295"/>
                  </a:cubicBezTo>
                  <a:cubicBezTo>
                    <a:pt x="94" y="300"/>
                    <a:pt x="94" y="300"/>
                    <a:pt x="94" y="300"/>
                  </a:cubicBezTo>
                  <a:cubicBezTo>
                    <a:pt x="128" y="328"/>
                    <a:pt x="171" y="344"/>
                    <a:pt x="215" y="344"/>
                  </a:cubicBezTo>
                  <a:cubicBezTo>
                    <a:pt x="258" y="344"/>
                    <a:pt x="300" y="329"/>
                    <a:pt x="334" y="302"/>
                  </a:cubicBezTo>
                  <a:lnTo>
                    <a:pt x="329" y="297"/>
                  </a:lnTo>
                  <a:close/>
                  <a:moveTo>
                    <a:pt x="96" y="25"/>
                  </a:moveTo>
                  <a:cubicBezTo>
                    <a:pt x="99" y="25"/>
                    <a:pt x="102" y="25"/>
                    <a:pt x="104" y="26"/>
                  </a:cubicBezTo>
                  <a:cubicBezTo>
                    <a:pt x="92" y="35"/>
                    <a:pt x="82" y="46"/>
                    <a:pt x="73" y="58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2" y="54"/>
                    <a:pt x="72" y="52"/>
                    <a:pt x="72" y="49"/>
                  </a:cubicBezTo>
                  <a:cubicBezTo>
                    <a:pt x="72" y="36"/>
                    <a:pt x="80" y="25"/>
                    <a:pt x="96" y="25"/>
                  </a:cubicBezTo>
                  <a:close/>
                  <a:moveTo>
                    <a:pt x="11" y="135"/>
                  </a:moveTo>
                  <a:cubicBezTo>
                    <a:pt x="11" y="123"/>
                    <a:pt x="19" y="111"/>
                    <a:pt x="35" y="111"/>
                  </a:cubicBezTo>
                  <a:cubicBezTo>
                    <a:pt x="38" y="111"/>
                    <a:pt x="41" y="112"/>
                    <a:pt x="44" y="113"/>
                  </a:cubicBezTo>
                  <a:cubicBezTo>
                    <a:pt x="39" y="128"/>
                    <a:pt x="37" y="143"/>
                    <a:pt x="37" y="159"/>
                  </a:cubicBezTo>
                  <a:cubicBezTo>
                    <a:pt x="36" y="159"/>
                    <a:pt x="35" y="159"/>
                    <a:pt x="35" y="159"/>
                  </a:cubicBezTo>
                  <a:cubicBezTo>
                    <a:pt x="20" y="159"/>
                    <a:pt x="11" y="148"/>
                    <a:pt x="11" y="135"/>
                  </a:cubicBezTo>
                  <a:close/>
                  <a:moveTo>
                    <a:pt x="35" y="222"/>
                  </a:moveTo>
                  <a:cubicBezTo>
                    <a:pt x="35" y="216"/>
                    <a:pt x="38" y="210"/>
                    <a:pt x="42" y="205"/>
                  </a:cubicBezTo>
                  <a:cubicBezTo>
                    <a:pt x="45" y="219"/>
                    <a:pt x="51" y="233"/>
                    <a:pt x="58" y="246"/>
                  </a:cubicBezTo>
                  <a:cubicBezTo>
                    <a:pt x="44" y="245"/>
                    <a:pt x="35" y="235"/>
                    <a:pt x="35" y="2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  <p:sp>
          <p:nvSpPr>
            <p:cNvPr id="81" name="Freeform 69"/>
            <p:cNvSpPr>
              <a:spLocks noEditPoints="1"/>
            </p:cNvSpPr>
            <p:nvPr/>
          </p:nvSpPr>
          <p:spPr bwMode="auto">
            <a:xfrm>
              <a:off x="2947" y="844"/>
              <a:ext cx="483" cy="468"/>
            </a:xfrm>
            <a:custGeom>
              <a:avLst/>
              <a:gdLst>
                <a:gd name="T0" fmla="*/ 58 w 68"/>
                <a:gd name="T1" fmla="*/ 33 h 66"/>
                <a:gd name="T2" fmla="*/ 34 w 68"/>
                <a:gd name="T3" fmla="*/ 9 h 66"/>
                <a:gd name="T4" fmla="*/ 10 w 68"/>
                <a:gd name="T5" fmla="*/ 33 h 66"/>
                <a:gd name="T6" fmla="*/ 34 w 68"/>
                <a:gd name="T7" fmla="*/ 57 h 66"/>
                <a:gd name="T8" fmla="*/ 58 w 68"/>
                <a:gd name="T9" fmla="*/ 33 h 66"/>
                <a:gd name="T10" fmla="*/ 68 w 68"/>
                <a:gd name="T11" fmla="*/ 33 h 66"/>
                <a:gd name="T12" fmla="*/ 34 w 68"/>
                <a:gd name="T13" fmla="*/ 66 h 66"/>
                <a:gd name="T14" fmla="*/ 0 w 68"/>
                <a:gd name="T15" fmla="*/ 33 h 66"/>
                <a:gd name="T16" fmla="*/ 34 w 68"/>
                <a:gd name="T17" fmla="*/ 0 h 66"/>
                <a:gd name="T18" fmla="*/ 68 w 68"/>
                <a:gd name="T19" fmla="*/ 3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6">
                  <a:moveTo>
                    <a:pt x="58" y="33"/>
                  </a:moveTo>
                  <a:cubicBezTo>
                    <a:pt x="58" y="21"/>
                    <a:pt x="49" y="9"/>
                    <a:pt x="34" y="9"/>
                  </a:cubicBezTo>
                  <a:cubicBezTo>
                    <a:pt x="19" y="9"/>
                    <a:pt x="10" y="21"/>
                    <a:pt x="10" y="33"/>
                  </a:cubicBezTo>
                  <a:cubicBezTo>
                    <a:pt x="10" y="46"/>
                    <a:pt x="20" y="57"/>
                    <a:pt x="34" y="57"/>
                  </a:cubicBezTo>
                  <a:cubicBezTo>
                    <a:pt x="48" y="57"/>
                    <a:pt x="58" y="46"/>
                    <a:pt x="58" y="33"/>
                  </a:cubicBezTo>
                  <a:moveTo>
                    <a:pt x="68" y="33"/>
                  </a:moveTo>
                  <a:cubicBezTo>
                    <a:pt x="68" y="52"/>
                    <a:pt x="53" y="66"/>
                    <a:pt x="34" y="66"/>
                  </a:cubicBezTo>
                  <a:cubicBezTo>
                    <a:pt x="15" y="66"/>
                    <a:pt x="0" y="52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3" y="0"/>
                    <a:pt x="68" y="15"/>
                    <a:pt x="68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2091" dirty="0"/>
            </a:p>
          </p:txBody>
        </p:sp>
      </p:grpSp>
    </p:spTree>
    <p:extLst>
      <p:ext uri="{BB962C8B-B14F-4D97-AF65-F5344CB8AC3E}">
        <p14:creationId xmlns:p14="http://schemas.microsoft.com/office/powerpoint/2010/main" val="2098041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 xmlns:mv="urn:schemas-microsoft-com:mac:vml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28479A-2677-446F-9B9C-DD29586210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568869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5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11584718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50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858106" y="1940592"/>
            <a:ext cx="199573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20.03.2019 11:57 W. Europ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65508" y="4114418"/>
            <a:ext cx="178093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0.03.2019 11:55 W. Europ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667" r:id="rId4"/>
    <p:sldLayoutId id="2147483668" r:id="rId5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7.emf"/><Relationship Id="rId2" Type="http://schemas.openxmlformats.org/officeDocument/2006/relationships/tags" Target="../tags/tag2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26" Type="http://schemas.openxmlformats.org/officeDocument/2006/relationships/chart" Target="../charts/chart2.xml"/><Relationship Id="rId3" Type="http://schemas.openxmlformats.org/officeDocument/2006/relationships/tags" Target="../tags/tag30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chart" Target="../charts/chart1.xml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0" Type="http://schemas.openxmlformats.org/officeDocument/2006/relationships/tags" Target="../tags/tag47.xml"/><Relationship Id="rId1" Type="http://schemas.openxmlformats.org/officeDocument/2006/relationships/vmlDrawing" Target="../drawings/vmlDrawing6.v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24" Type="http://schemas.openxmlformats.org/officeDocument/2006/relationships/image" Target="../media/image8.emf"/><Relationship Id="rId5" Type="http://schemas.openxmlformats.org/officeDocument/2006/relationships/tags" Target="../tags/tag32.xml"/><Relationship Id="rId15" Type="http://schemas.openxmlformats.org/officeDocument/2006/relationships/tags" Target="../tags/tag42.xml"/><Relationship Id="rId23" Type="http://schemas.openxmlformats.org/officeDocument/2006/relationships/oleObject" Target="../embeddings/oleObject6.bin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tags" Target="../tags/tag59.xml"/><Relationship Id="rId18" Type="http://schemas.openxmlformats.org/officeDocument/2006/relationships/tags" Target="../tags/tag64.xml"/><Relationship Id="rId26" Type="http://schemas.openxmlformats.org/officeDocument/2006/relationships/chart" Target="../charts/chart4.xml"/><Relationship Id="rId3" Type="http://schemas.openxmlformats.org/officeDocument/2006/relationships/tags" Target="../tags/tag49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17" Type="http://schemas.openxmlformats.org/officeDocument/2006/relationships/tags" Target="../tags/tag63.xml"/><Relationship Id="rId25" Type="http://schemas.openxmlformats.org/officeDocument/2006/relationships/chart" Target="../charts/chart3.xml"/><Relationship Id="rId2" Type="http://schemas.openxmlformats.org/officeDocument/2006/relationships/tags" Target="../tags/tag48.xml"/><Relationship Id="rId16" Type="http://schemas.openxmlformats.org/officeDocument/2006/relationships/tags" Target="../tags/tag62.xml"/><Relationship Id="rId20" Type="http://schemas.openxmlformats.org/officeDocument/2006/relationships/tags" Target="../tags/tag66.xml"/><Relationship Id="rId1" Type="http://schemas.openxmlformats.org/officeDocument/2006/relationships/vmlDrawing" Target="../drawings/vmlDrawing7.v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24" Type="http://schemas.openxmlformats.org/officeDocument/2006/relationships/image" Target="../media/image8.emf"/><Relationship Id="rId5" Type="http://schemas.openxmlformats.org/officeDocument/2006/relationships/tags" Target="../tags/tag51.xml"/><Relationship Id="rId15" Type="http://schemas.openxmlformats.org/officeDocument/2006/relationships/tags" Target="../tags/tag61.xml"/><Relationship Id="rId23" Type="http://schemas.openxmlformats.org/officeDocument/2006/relationships/oleObject" Target="../embeddings/oleObject7.bin"/><Relationship Id="rId10" Type="http://schemas.openxmlformats.org/officeDocument/2006/relationships/tags" Target="../tags/tag56.xml"/><Relationship Id="rId19" Type="http://schemas.openxmlformats.org/officeDocument/2006/relationships/tags" Target="../tags/tag65.xml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tags" Target="../tags/tag60.xml"/><Relationship Id="rId2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tags" Target="../tags/tag78.xml"/><Relationship Id="rId18" Type="http://schemas.openxmlformats.org/officeDocument/2006/relationships/notesSlide" Target="../notesSlides/notesSlide4.xml"/><Relationship Id="rId3" Type="http://schemas.openxmlformats.org/officeDocument/2006/relationships/tags" Target="../tags/tag68.xml"/><Relationship Id="rId21" Type="http://schemas.openxmlformats.org/officeDocument/2006/relationships/chart" Target="../charts/chart5.xml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67.xml"/><Relationship Id="rId16" Type="http://schemas.openxmlformats.org/officeDocument/2006/relationships/tags" Target="../tags/tag81.xml"/><Relationship Id="rId20" Type="http://schemas.openxmlformats.org/officeDocument/2006/relationships/image" Target="../media/image8.emf"/><Relationship Id="rId1" Type="http://schemas.openxmlformats.org/officeDocument/2006/relationships/vmlDrawing" Target="../drawings/vmlDrawing8.v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5" Type="http://schemas.openxmlformats.org/officeDocument/2006/relationships/tags" Target="../tags/tag70.xml"/><Relationship Id="rId15" Type="http://schemas.openxmlformats.org/officeDocument/2006/relationships/tags" Target="../tags/tag80.xml"/><Relationship Id="rId10" Type="http://schemas.openxmlformats.org/officeDocument/2006/relationships/tags" Target="../tags/tag75.xml"/><Relationship Id="rId19" Type="http://schemas.openxmlformats.org/officeDocument/2006/relationships/oleObject" Target="../embeddings/oleObject8.bin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Relationship Id="rId22" Type="http://schemas.openxmlformats.org/officeDocument/2006/relationships/chart" Target="../charts/char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1.svg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image" Target="../media/image10.png"/><Relationship Id="rId2" Type="http://schemas.openxmlformats.org/officeDocument/2006/relationships/tags" Target="../tags/tag82.xml"/><Relationship Id="rId1" Type="http://schemas.openxmlformats.org/officeDocument/2006/relationships/vmlDrawing" Target="../drawings/vmlDrawing9.vml"/><Relationship Id="rId6" Type="http://schemas.openxmlformats.org/officeDocument/2006/relationships/tags" Target="../tags/tag86.xml"/><Relationship Id="rId11" Type="http://schemas.openxmlformats.org/officeDocument/2006/relationships/image" Target="../media/image9.emf"/><Relationship Id="rId5" Type="http://schemas.openxmlformats.org/officeDocument/2006/relationships/tags" Target="../tags/tag85.xml"/><Relationship Id="rId15" Type="http://schemas.openxmlformats.org/officeDocument/2006/relationships/image" Target="../media/image13.svg"/><Relationship Id="rId10" Type="http://schemas.openxmlformats.org/officeDocument/2006/relationships/oleObject" Target="../embeddings/oleObject9.bin"/><Relationship Id="rId4" Type="http://schemas.openxmlformats.org/officeDocument/2006/relationships/tags" Target="../tags/tag84.xml"/><Relationship Id="rId9" Type="http://schemas.openxmlformats.org/officeDocument/2006/relationships/notesSlide" Target="../notesSlides/notesSlide5.xml"/><Relationship Id="rId1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53E28D-4445-4611-82E4-A7F0869251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1433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62" name="think-cell Slide" r:id="rId6" imgW="408" imgH="408" progId="TCLayout.ActiveDocument.1">
                  <p:embed/>
                </p:oleObj>
              </mc:Choice>
              <mc:Fallback>
                <p:oleObj name="think-cell Slide" r:id="rId6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A53E28D-4445-4611-82E4-A7F0869251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216B4A1-54E2-4EB9-93B1-2F903B77A1C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EA4C1D-A750-430D-B519-54F3A40DA9B6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024489" y="1434420"/>
            <a:ext cx="8309252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Playing catch-up or changing the rules of the game for European innovation?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subTitle" idx="1"/>
          </p:nvPr>
        </p:nvSpPr>
        <p:spPr>
          <a:xfrm>
            <a:off x="3024489" y="3119079"/>
            <a:ext cx="8309252" cy="4308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Bruegel</a:t>
            </a:r>
          </a:p>
          <a:p>
            <a:r>
              <a:rPr lang="en-US" dirty="0"/>
              <a:t>Brussels, March 2019</a:t>
            </a:r>
          </a:p>
        </p:txBody>
      </p:sp>
    </p:spTree>
    <p:extLst>
      <p:ext uri="{BB962C8B-B14F-4D97-AF65-F5344CB8AC3E}">
        <p14:creationId xmlns:p14="http://schemas.microsoft.com/office/powerpoint/2010/main" val="40852856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9DC3A84-10D1-47C3-A65D-2B6AB3689D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1754786"/>
              </p:ext>
            </p:extLst>
          </p:nvPr>
        </p:nvGraphicFramePr>
        <p:xfrm>
          <a:off x="1495425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42" name="think-cell Slide" r:id="rId23" imgW="493" imgH="493" progId="TCLayout.ActiveDocument.1">
                  <p:embed/>
                </p:oleObj>
              </mc:Choice>
              <mc:Fallback>
                <p:oleObj name="think-cell Slide" r:id="rId23" imgW="493" imgH="49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9DC3A84-10D1-47C3-A65D-2B6AB3689D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495425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4F389B7-8E1D-47CC-ACCD-6A76B83EA1F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5. Source">
            <a:extLst>
              <a:ext uri="{FF2B5EF4-FFF2-40B4-BE49-F238E27FC236}">
                <a16:creationId xmlns:a16="http://schemas.microsoft.com/office/drawing/2014/main" id="{30DE6A72-CC02-4B50-B4A1-F52463A080A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895350">
              <a:tabLst>
                <a:tab pos="514350" algn="l"/>
              </a:tabLst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SOURCE:	McKinsey Corporate Performance Analytics; McKinsey Global Institute analysis </a:t>
            </a:r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8D017516-9FFA-427A-883B-5A29CF1F045D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96358724"/>
              </p:ext>
            </p:extLst>
          </p:nvPr>
        </p:nvGraphicFramePr>
        <p:xfrm>
          <a:off x="960438" y="1131888"/>
          <a:ext cx="10772775" cy="2366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33" name="Rectangle 32">
            <a:extLst>
              <a:ext uri="{FF2B5EF4-FFF2-40B4-BE49-F238E27FC236}">
                <a16:creationId xmlns:a16="http://schemas.microsoft.com/office/drawing/2014/main" id="{60454361-C9CA-4540-B436-5AA521BEEB70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6280150" y="2744788"/>
            <a:ext cx="1333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9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4304" indent="-114304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▪"/>
              <a:defRPr sz="900" baseline="0">
                <a:solidFill>
                  <a:schemeClr val="tx1"/>
                </a:solidFill>
                <a:latin typeface="+mn-lt"/>
              </a:defRPr>
            </a:lvl2pPr>
            <a:lvl3pPr marL="285759" indent="-171456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–"/>
              <a:defRPr sz="900" baseline="0">
                <a:solidFill>
                  <a:schemeClr val="tx1"/>
                </a:solidFill>
                <a:latin typeface="+mn-lt"/>
              </a:defRPr>
            </a:lvl3pPr>
            <a:lvl4pPr marL="400064" indent="-114304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▫"/>
              <a:defRPr sz="900" baseline="0">
                <a:solidFill>
                  <a:schemeClr val="tx1"/>
                </a:solidFill>
                <a:latin typeface="+mn-lt"/>
              </a:defRPr>
            </a:lvl4pPr>
            <a:lvl5pPr marL="514368" indent="-114304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900" baseline="0">
                <a:solidFill>
                  <a:schemeClr val="tx1"/>
                </a:solidFill>
                <a:latin typeface="+mn-lt"/>
              </a:defRPr>
            </a:lvl5pPr>
            <a:lvl6pPr marL="527195" indent="-91527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solidFill>
                  <a:schemeClr val="tx1"/>
                </a:solidFill>
                <a:latin typeface="+mn-lt"/>
              </a:defRPr>
            </a:lvl6pPr>
            <a:lvl7pPr marL="527195" indent="-91527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solidFill>
                  <a:schemeClr val="tx1"/>
                </a:solidFill>
                <a:latin typeface="+mn-lt"/>
              </a:defRPr>
            </a:lvl7pPr>
            <a:lvl8pPr marL="527195" indent="-91527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solidFill>
                  <a:schemeClr val="tx1"/>
                </a:solidFill>
                <a:latin typeface="+mn-lt"/>
              </a:defRPr>
            </a:lvl8pPr>
            <a:lvl9pPr marL="527195" indent="-91527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00FC1D1-4031-4266-B1D8-ABEC0CA0BF99}" type="datetime'''''''''''''''''2'''''''''''">
              <a:rPr lang="en-US" altLang="en-US" sz="1400"/>
              <a:pPr algn="ctr"/>
              <a:t>2</a:t>
            </a:fld>
            <a:endParaRPr lang="en-US" sz="1400" dirty="0">
              <a:sym typeface="+mn-l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FA26655-CAF3-4F80-98B7-C5DA02BCF2E9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1236664" y="3292475"/>
            <a:ext cx="5762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9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4304" indent="-114304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▪"/>
              <a:defRPr sz="900" baseline="0">
                <a:solidFill>
                  <a:schemeClr val="tx1"/>
                </a:solidFill>
                <a:latin typeface="+mn-lt"/>
              </a:defRPr>
            </a:lvl2pPr>
            <a:lvl3pPr marL="285759" indent="-171456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–"/>
              <a:defRPr sz="900" baseline="0">
                <a:solidFill>
                  <a:schemeClr val="tx1"/>
                </a:solidFill>
                <a:latin typeface="+mn-lt"/>
              </a:defRPr>
            </a:lvl3pPr>
            <a:lvl4pPr marL="400064" indent="-114304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▫"/>
              <a:defRPr sz="900" baseline="0">
                <a:solidFill>
                  <a:schemeClr val="tx1"/>
                </a:solidFill>
                <a:latin typeface="+mn-lt"/>
              </a:defRPr>
            </a:lvl4pPr>
            <a:lvl5pPr marL="514368" indent="-114304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900" baseline="0">
                <a:solidFill>
                  <a:schemeClr val="tx1"/>
                </a:solidFill>
                <a:latin typeface="+mn-lt"/>
              </a:defRPr>
            </a:lvl5pPr>
            <a:lvl6pPr marL="527195" indent="-91527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solidFill>
                  <a:schemeClr val="tx1"/>
                </a:solidFill>
                <a:latin typeface="+mn-lt"/>
              </a:defRPr>
            </a:lvl6pPr>
            <a:lvl7pPr marL="527195" indent="-91527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solidFill>
                  <a:schemeClr val="tx1"/>
                </a:solidFill>
                <a:latin typeface="+mn-lt"/>
              </a:defRPr>
            </a:lvl7pPr>
            <a:lvl8pPr marL="527195" indent="-91527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solidFill>
                  <a:schemeClr val="tx1"/>
                </a:solidFill>
                <a:latin typeface="+mn-lt"/>
              </a:defRPr>
            </a:lvl8pPr>
            <a:lvl9pPr marL="527195" indent="-91527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400" dirty="0">
                <a:sym typeface="+mn-lt"/>
              </a:rPr>
              <a:t>–1,023</a:t>
            </a:r>
            <a:endParaRPr lang="en-US" sz="1400" dirty="0">
              <a:sym typeface="+mn-lt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6A7E973-9B1B-461E-BCA5-BC17D64BBA5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0929938" y="1778001"/>
            <a:ext cx="4778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18A8112-1115-498F-AEAC-6B9B4A9118E7}" type="datetime'''''''3'''''''''''''''''',''''''''''''''''''''5''''''''00'''">
              <a:rPr lang="de-CH" altLang="en-US" sz="1400" smtClean="0">
                <a:sym typeface="+mn-lt"/>
              </a:rPr>
              <a:pPr algn="ctr"/>
              <a:t>3,500</a:t>
            </a:fld>
            <a:endParaRPr lang="de-CH" sz="1400" dirty="0">
              <a:sym typeface="+mn-lt"/>
            </a:endParaRP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89B2EA34-7D78-4AC7-832C-EB937783ACEA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125915173"/>
              </p:ext>
            </p:extLst>
          </p:nvPr>
        </p:nvGraphicFramePr>
        <p:xfrm>
          <a:off x="960438" y="3724275"/>
          <a:ext cx="10772775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8C2ACD4-8C3A-4EB7-B1B3-D10456977AA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9966325" y="4964114"/>
            <a:ext cx="4778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6252503-69AC-4C28-A7CD-1DDAC3B56ECA}" type="datetime'''''''1'''''''''''''',3''''''''''''''''5''''5'">
              <a:rPr lang="de-CH" altLang="en-US" sz="1400" smtClean="0">
                <a:sym typeface="+mn-lt"/>
              </a:rPr>
              <a:pPr algn="ctr"/>
              <a:t>1,355</a:t>
            </a:fld>
            <a:endParaRPr lang="de-CH" sz="1400" dirty="0">
              <a:sym typeface="+mn-lt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9643EDF7-FABA-4C46-B1CF-29B2DFF34E7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280150" y="5337175"/>
            <a:ext cx="133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5F09BDA-838A-4359-B980-F695A84AADF6}" type="datetime'''''''''''''''7'''''''''''''''''''''''''''''''''''''''''''''">
              <a:rPr lang="en-US" altLang="en-US" sz="1400" smtClean="0">
                <a:sym typeface="+mn-lt"/>
              </a:rPr>
              <a:pPr algn="ctr"/>
              <a:t>7</a:t>
            </a:fld>
            <a:endParaRPr lang="en-US" sz="1400" dirty="0">
              <a:sym typeface="+mn-l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0E3D897-8E0A-4654-AB96-0DCFEF630EBB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1236664" y="6034088"/>
            <a:ext cx="5762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9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4304" indent="-114304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▪"/>
              <a:defRPr sz="900" baseline="0">
                <a:solidFill>
                  <a:schemeClr val="tx1"/>
                </a:solidFill>
                <a:latin typeface="+mn-lt"/>
              </a:defRPr>
            </a:lvl2pPr>
            <a:lvl3pPr marL="285759" indent="-171456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–"/>
              <a:defRPr sz="900" baseline="0">
                <a:solidFill>
                  <a:schemeClr val="tx1"/>
                </a:solidFill>
                <a:latin typeface="+mn-lt"/>
              </a:defRPr>
            </a:lvl3pPr>
            <a:lvl4pPr marL="400064" indent="-114304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▫"/>
              <a:defRPr sz="900" baseline="0">
                <a:solidFill>
                  <a:schemeClr val="tx1"/>
                </a:solidFill>
                <a:latin typeface="+mn-lt"/>
              </a:defRPr>
            </a:lvl4pPr>
            <a:lvl5pPr marL="514368" indent="-114304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900" baseline="0">
                <a:solidFill>
                  <a:schemeClr val="tx1"/>
                </a:solidFill>
                <a:latin typeface="+mn-lt"/>
              </a:defRPr>
            </a:lvl5pPr>
            <a:lvl6pPr marL="527195" indent="-91527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solidFill>
                  <a:schemeClr val="tx1"/>
                </a:solidFill>
                <a:latin typeface="+mn-lt"/>
              </a:defRPr>
            </a:lvl6pPr>
            <a:lvl7pPr marL="527195" indent="-91527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solidFill>
                  <a:schemeClr val="tx1"/>
                </a:solidFill>
                <a:latin typeface="+mn-lt"/>
              </a:defRPr>
            </a:lvl7pPr>
            <a:lvl8pPr marL="527195" indent="-91527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solidFill>
                  <a:schemeClr val="tx1"/>
                </a:solidFill>
                <a:latin typeface="+mn-lt"/>
              </a:defRPr>
            </a:lvl8pPr>
            <a:lvl9pPr marL="527195" indent="-91527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400" dirty="0">
                <a:sym typeface="+mn-lt"/>
              </a:rPr>
              <a:t>–1,562</a:t>
            </a:r>
            <a:endParaRPr lang="en-US" sz="1400" dirty="0">
              <a:sym typeface="+mn-lt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290B050-7BC2-40C7-823D-E27F5A4EE75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0929938" y="3568701"/>
            <a:ext cx="4778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97F63CC-A041-4BF2-B9AE-9EC892DE23E0}" type="datetime'''''''''''''''''6'''''''''''',4''''''0''''''''''''''''0'''''">
              <a:rPr lang="de-CH" altLang="en-US" sz="1400" smtClean="0">
                <a:sym typeface="+mn-lt"/>
              </a:rPr>
              <a:pPr algn="ctr"/>
              <a:t>6,400</a:t>
            </a:fld>
            <a:endParaRPr lang="de-CH" sz="1400" dirty="0">
              <a:sym typeface="+mn-lt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FA17032-7E82-4DD2-B760-5F04B2217369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10891838" y="292100"/>
            <a:ext cx="165100" cy="165100"/>
          </a:xfrm>
          <a:prstGeom prst="rect">
            <a:avLst/>
          </a:prstGeom>
          <a:solidFill>
            <a:srgbClr val="CD202C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DCBA4C1-FD56-4DD8-A958-D25AC8BCB9D5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9261475" y="292100"/>
            <a:ext cx="165100" cy="165100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630F2B8-4FD4-45D8-8C81-625EA2089952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9975850" y="292100"/>
            <a:ext cx="165100" cy="1651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D29F738-E112-494D-B37F-89280D21DEF1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9528175" y="290513"/>
            <a:ext cx="2444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9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4304" indent="-114304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▪"/>
              <a:defRPr sz="900" baseline="0">
                <a:solidFill>
                  <a:schemeClr val="tx1"/>
                </a:solidFill>
                <a:latin typeface="+mn-lt"/>
              </a:defRPr>
            </a:lvl2pPr>
            <a:lvl3pPr marL="285759" indent="-171456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–"/>
              <a:defRPr sz="900" baseline="0">
                <a:solidFill>
                  <a:schemeClr val="tx1"/>
                </a:solidFill>
                <a:latin typeface="+mn-lt"/>
              </a:defRPr>
            </a:lvl3pPr>
            <a:lvl4pPr marL="400064" indent="-114304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▫"/>
              <a:defRPr sz="900" baseline="0">
                <a:solidFill>
                  <a:schemeClr val="tx1"/>
                </a:solidFill>
                <a:latin typeface="+mn-lt"/>
              </a:defRPr>
            </a:lvl4pPr>
            <a:lvl5pPr marL="514368" indent="-114304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900" baseline="0">
                <a:solidFill>
                  <a:schemeClr val="tx1"/>
                </a:solidFill>
                <a:latin typeface="+mn-lt"/>
              </a:defRPr>
            </a:lvl5pPr>
            <a:lvl6pPr marL="527195" indent="-91527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solidFill>
                  <a:schemeClr val="tx1"/>
                </a:solidFill>
                <a:latin typeface="+mn-lt"/>
              </a:defRPr>
            </a:lvl6pPr>
            <a:lvl7pPr marL="527195" indent="-91527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solidFill>
                  <a:schemeClr val="tx1"/>
                </a:solidFill>
                <a:latin typeface="+mn-lt"/>
              </a:defRPr>
            </a:lvl7pPr>
            <a:lvl8pPr marL="527195" indent="-91527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solidFill>
                  <a:schemeClr val="tx1"/>
                </a:solidFill>
                <a:latin typeface="+mn-lt"/>
              </a:defRPr>
            </a:lvl8pPr>
            <a:lvl9pPr marL="527195" indent="-91527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200" dirty="0"/>
              <a:t>Top</a:t>
            </a:r>
            <a:endParaRPr lang="en-US" sz="1200" dirty="0">
              <a:sym typeface="+mn-lt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E335439-D794-4710-A654-22FA964B5855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10242550" y="290513"/>
            <a:ext cx="4460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9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4304" indent="-114304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▪"/>
              <a:defRPr sz="900" baseline="0">
                <a:solidFill>
                  <a:schemeClr val="tx1"/>
                </a:solidFill>
                <a:latin typeface="+mn-lt"/>
              </a:defRPr>
            </a:lvl2pPr>
            <a:lvl3pPr marL="285759" indent="-171456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–"/>
              <a:defRPr sz="900" baseline="0">
                <a:solidFill>
                  <a:schemeClr val="tx1"/>
                </a:solidFill>
                <a:latin typeface="+mn-lt"/>
              </a:defRPr>
            </a:lvl3pPr>
            <a:lvl4pPr marL="400064" indent="-114304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▫"/>
              <a:defRPr sz="900" baseline="0">
                <a:solidFill>
                  <a:schemeClr val="tx1"/>
                </a:solidFill>
                <a:latin typeface="+mn-lt"/>
              </a:defRPr>
            </a:lvl4pPr>
            <a:lvl5pPr marL="514368" indent="-114304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900" baseline="0">
                <a:solidFill>
                  <a:schemeClr val="tx1"/>
                </a:solidFill>
                <a:latin typeface="+mn-lt"/>
              </a:defRPr>
            </a:lvl5pPr>
            <a:lvl6pPr marL="527195" indent="-91527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solidFill>
                  <a:schemeClr val="tx1"/>
                </a:solidFill>
                <a:latin typeface="+mn-lt"/>
              </a:defRPr>
            </a:lvl6pPr>
            <a:lvl7pPr marL="527195" indent="-91527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solidFill>
                  <a:schemeClr val="tx1"/>
                </a:solidFill>
                <a:latin typeface="+mn-lt"/>
              </a:defRPr>
            </a:lvl7pPr>
            <a:lvl8pPr marL="527195" indent="-91527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solidFill>
                  <a:schemeClr val="tx1"/>
                </a:solidFill>
                <a:latin typeface="+mn-lt"/>
              </a:defRPr>
            </a:lvl8pPr>
            <a:lvl9pPr marL="527195" indent="-91527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200" dirty="0"/>
              <a:t>Middle</a:t>
            </a:r>
            <a:endParaRPr lang="en-US" sz="1200" dirty="0">
              <a:sym typeface="+mn-lt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76DB787-DCF2-4B05-89B9-77EB7765DEB3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11158538" y="290513"/>
            <a:ext cx="4826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9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4304" indent="-114304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▪"/>
              <a:defRPr sz="900" baseline="0">
                <a:solidFill>
                  <a:schemeClr val="tx1"/>
                </a:solidFill>
                <a:latin typeface="+mn-lt"/>
              </a:defRPr>
            </a:lvl2pPr>
            <a:lvl3pPr marL="285759" indent="-171456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–"/>
              <a:defRPr sz="900" baseline="0">
                <a:solidFill>
                  <a:schemeClr val="tx1"/>
                </a:solidFill>
                <a:latin typeface="+mn-lt"/>
              </a:defRPr>
            </a:lvl3pPr>
            <a:lvl4pPr marL="400064" indent="-114304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▫"/>
              <a:defRPr sz="900" baseline="0">
                <a:solidFill>
                  <a:schemeClr val="tx1"/>
                </a:solidFill>
                <a:latin typeface="+mn-lt"/>
              </a:defRPr>
            </a:lvl4pPr>
            <a:lvl5pPr marL="514368" indent="-114304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900" baseline="0">
                <a:solidFill>
                  <a:schemeClr val="tx1"/>
                </a:solidFill>
                <a:latin typeface="+mn-lt"/>
              </a:defRPr>
            </a:lvl5pPr>
            <a:lvl6pPr marL="527195" indent="-91527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solidFill>
                  <a:schemeClr val="tx1"/>
                </a:solidFill>
                <a:latin typeface="+mn-lt"/>
              </a:defRPr>
            </a:lvl6pPr>
            <a:lvl7pPr marL="527195" indent="-91527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solidFill>
                  <a:schemeClr val="tx1"/>
                </a:solidFill>
                <a:latin typeface="+mn-lt"/>
              </a:defRPr>
            </a:lvl7pPr>
            <a:lvl8pPr marL="527195" indent="-91527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solidFill>
                  <a:schemeClr val="tx1"/>
                </a:solidFill>
                <a:latin typeface="+mn-lt"/>
              </a:defRPr>
            </a:lvl8pPr>
            <a:lvl9pPr marL="527195" indent="-91527" algn="l" defTabSz="6295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200" dirty="0"/>
              <a:t>Bottom</a:t>
            </a:r>
            <a:endParaRPr lang="en-US" sz="1200" dirty="0">
              <a:sym typeface="+mn-lt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3715AB5-25C4-440C-8AAE-BF727A9D6D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60" y="230189"/>
            <a:ext cx="8495844" cy="80021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pPr>
              <a:defRPr/>
            </a:pPr>
            <a:r>
              <a:rPr lang="en-US" dirty="0"/>
              <a:t>There is a strong – and increasing – superstar effect</a:t>
            </a:r>
            <a:br>
              <a:rPr lang="en-US" dirty="0"/>
            </a:br>
            <a:r>
              <a:rPr lang="en-US" sz="1600" b="1" dirty="0">
                <a:solidFill>
                  <a:schemeClr val="accent2"/>
                </a:solidFill>
              </a:rPr>
              <a:t>Average economic profit per firm in each decile of large firms</a:t>
            </a:r>
            <a:br>
              <a:rPr lang="en-US" sz="1600" b="1" dirty="0">
                <a:solidFill>
                  <a:schemeClr val="accent2"/>
                </a:solidFill>
              </a:rPr>
            </a:br>
            <a:r>
              <a:rPr lang="en-US" sz="1600" dirty="0">
                <a:solidFill>
                  <a:schemeClr val="accent6"/>
                </a:solidFill>
              </a:rPr>
              <a:t>$ million (2016 dollars)</a:t>
            </a:r>
            <a:endParaRPr lang="en-US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C117CD7-6C58-4A3C-9050-0C3C1A832CEC}"/>
              </a:ext>
            </a:extLst>
          </p:cNvPr>
          <p:cNvSpPr txBox="1">
            <a:spLocks/>
          </p:cNvSpPr>
          <p:nvPr/>
        </p:nvSpPr>
        <p:spPr>
          <a:xfrm>
            <a:off x="158759" y="3417690"/>
            <a:ext cx="9906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29528" eaLnBrk="1" hangingPunct="1">
              <a:buClr>
                <a:schemeClr val="tx2"/>
              </a:buClr>
              <a:defRPr sz="900" baseline="0">
                <a:latin typeface="+mn-lt"/>
              </a:defRPr>
            </a:lvl1pPr>
            <a:lvl2pPr marL="114304" lvl="1" indent="-114304" defTabSz="629528" eaLnBrk="1" hangingPunct="1">
              <a:buClr>
                <a:schemeClr val="tx1"/>
              </a:buClr>
              <a:buSzPct val="120000"/>
              <a:buFont typeface="Arial" charset="0"/>
              <a:buChar char="▪"/>
              <a:defRPr sz="900" baseline="0">
                <a:latin typeface="+mn-lt"/>
              </a:defRPr>
            </a:lvl2pPr>
            <a:lvl3pPr marL="285759" lvl="2" indent="-171456" defTabSz="629528" eaLnBrk="1" hangingPunct="1">
              <a:buClr>
                <a:schemeClr val="tx1"/>
              </a:buClr>
              <a:buSzPct val="120000"/>
              <a:buFont typeface="Arial" charset="0"/>
              <a:buChar char="–"/>
              <a:defRPr sz="900" baseline="0">
                <a:latin typeface="+mn-lt"/>
              </a:defRPr>
            </a:lvl3pPr>
            <a:lvl4pPr marL="400064" lvl="3" indent="-114304" defTabSz="629528" eaLnBrk="1" hangingPunct="1">
              <a:buClr>
                <a:schemeClr val="tx1"/>
              </a:buClr>
              <a:buSzPct val="120000"/>
              <a:buFont typeface="Arial" charset="0"/>
              <a:buChar char="▫"/>
              <a:defRPr sz="900" baseline="0">
                <a:latin typeface="+mn-lt"/>
              </a:defRPr>
            </a:lvl4pPr>
            <a:lvl5pPr marL="514368" lvl="4" indent="-114304" defTabSz="629528" eaLnBrk="1" hangingPunct="1">
              <a:buClr>
                <a:schemeClr val="tx1"/>
              </a:buClr>
              <a:buSzPct val="89000"/>
              <a:buFont typeface="Arial" charset="0"/>
              <a:buChar char="-"/>
              <a:defRPr sz="900" baseline="0">
                <a:latin typeface="+mn-lt"/>
              </a:defRPr>
            </a:lvl5pPr>
            <a:lvl6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6pPr>
            <a:lvl7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7pPr>
            <a:lvl8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8pPr>
            <a:lvl9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accent2"/>
                </a:solidFill>
              </a:rPr>
              <a:t>1995-97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1700541-26E5-4023-AACA-5DB294299F60}"/>
              </a:ext>
            </a:extLst>
          </p:cNvPr>
          <p:cNvSpPr txBox="1">
            <a:spLocks/>
          </p:cNvSpPr>
          <p:nvPr/>
        </p:nvSpPr>
        <p:spPr>
          <a:xfrm>
            <a:off x="158759" y="5461964"/>
            <a:ext cx="9906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29528" eaLnBrk="1" hangingPunct="1">
              <a:buClr>
                <a:schemeClr val="tx2"/>
              </a:buClr>
              <a:defRPr sz="900" baseline="0">
                <a:latin typeface="+mn-lt"/>
              </a:defRPr>
            </a:lvl1pPr>
            <a:lvl2pPr marL="114304" lvl="1" indent="-114304" defTabSz="629528" eaLnBrk="1" hangingPunct="1">
              <a:buClr>
                <a:schemeClr val="tx1"/>
              </a:buClr>
              <a:buSzPct val="120000"/>
              <a:buFont typeface="Arial" charset="0"/>
              <a:buChar char="▪"/>
              <a:defRPr sz="900" baseline="0">
                <a:latin typeface="+mn-lt"/>
              </a:defRPr>
            </a:lvl2pPr>
            <a:lvl3pPr marL="285759" lvl="2" indent="-171456" defTabSz="629528" eaLnBrk="1" hangingPunct="1">
              <a:buClr>
                <a:schemeClr val="tx1"/>
              </a:buClr>
              <a:buSzPct val="120000"/>
              <a:buFont typeface="Arial" charset="0"/>
              <a:buChar char="–"/>
              <a:defRPr sz="900" baseline="0">
                <a:latin typeface="+mn-lt"/>
              </a:defRPr>
            </a:lvl3pPr>
            <a:lvl4pPr marL="400064" lvl="3" indent="-114304" defTabSz="629528" eaLnBrk="1" hangingPunct="1">
              <a:buClr>
                <a:schemeClr val="tx1"/>
              </a:buClr>
              <a:buSzPct val="120000"/>
              <a:buFont typeface="Arial" charset="0"/>
              <a:buChar char="▫"/>
              <a:defRPr sz="900" baseline="0">
                <a:latin typeface="+mn-lt"/>
              </a:defRPr>
            </a:lvl4pPr>
            <a:lvl5pPr marL="514368" lvl="4" indent="-114304" defTabSz="629528" eaLnBrk="1" hangingPunct="1">
              <a:buClr>
                <a:schemeClr val="tx1"/>
              </a:buClr>
              <a:buSzPct val="89000"/>
              <a:buFont typeface="Arial" charset="0"/>
              <a:buChar char="-"/>
              <a:defRPr sz="900" baseline="0">
                <a:latin typeface="+mn-lt"/>
              </a:defRPr>
            </a:lvl5pPr>
            <a:lvl6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6pPr>
            <a:lvl7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7pPr>
            <a:lvl8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8pPr>
            <a:lvl9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accent2"/>
                </a:solidFill>
              </a:rPr>
              <a:t>2014-16</a:t>
            </a:r>
          </a:p>
        </p:txBody>
      </p: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35D3805E-2DD6-4777-B120-9A41F7285EC4}"/>
              </a:ext>
            </a:extLst>
          </p:cNvPr>
          <p:cNvCxnSpPr>
            <a:cxnSpLocks/>
          </p:cNvCxnSpPr>
          <p:nvPr/>
        </p:nvCxnSpPr>
        <p:spPr>
          <a:xfrm>
            <a:off x="10209213" y="3570287"/>
            <a:ext cx="0" cy="1308894"/>
          </a:xfrm>
          <a:prstGeom prst="straightConnector1">
            <a:avLst/>
          </a:prstGeom>
          <a:ln w="19050">
            <a:solidFill>
              <a:srgbClr val="00B05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09E46CE7-0F67-4E60-8B0D-B13CDDC09A69}"/>
              </a:ext>
            </a:extLst>
          </p:cNvPr>
          <p:cNvSpPr txBox="1">
            <a:spLocks/>
          </p:cNvSpPr>
          <p:nvPr/>
        </p:nvSpPr>
        <p:spPr>
          <a:xfrm>
            <a:off x="961708" y="1214121"/>
            <a:ext cx="11261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29528" eaLnBrk="1" hangingPunct="1">
              <a:buClr>
                <a:schemeClr val="tx2"/>
              </a:buClr>
              <a:defRPr sz="900" baseline="0">
                <a:latin typeface="+mn-lt"/>
              </a:defRPr>
            </a:lvl1pPr>
            <a:lvl2pPr marL="114304" lvl="1" indent="-114304" defTabSz="629528" eaLnBrk="1" hangingPunct="1">
              <a:buClr>
                <a:schemeClr val="tx1"/>
              </a:buClr>
              <a:buSzPct val="120000"/>
              <a:buFont typeface="Arial" charset="0"/>
              <a:buChar char="▪"/>
              <a:defRPr sz="900" baseline="0">
                <a:latin typeface="+mn-lt"/>
              </a:defRPr>
            </a:lvl2pPr>
            <a:lvl3pPr marL="285759" lvl="2" indent="-171456" defTabSz="629528" eaLnBrk="1" hangingPunct="1">
              <a:buClr>
                <a:schemeClr val="tx1"/>
              </a:buClr>
              <a:buSzPct val="120000"/>
              <a:buFont typeface="Arial" charset="0"/>
              <a:buChar char="–"/>
              <a:defRPr sz="900" baseline="0">
                <a:latin typeface="+mn-lt"/>
              </a:defRPr>
            </a:lvl3pPr>
            <a:lvl4pPr marL="400064" lvl="3" indent="-114304" defTabSz="629528" eaLnBrk="1" hangingPunct="1">
              <a:buClr>
                <a:schemeClr val="tx1"/>
              </a:buClr>
              <a:buSzPct val="120000"/>
              <a:buFont typeface="Arial" charset="0"/>
              <a:buChar char="▫"/>
              <a:defRPr sz="900" baseline="0">
                <a:latin typeface="+mn-lt"/>
              </a:defRPr>
            </a:lvl4pPr>
            <a:lvl5pPr marL="514368" lvl="4" indent="-114304" defTabSz="629528" eaLnBrk="1" hangingPunct="1">
              <a:buClr>
                <a:schemeClr val="tx1"/>
              </a:buClr>
              <a:buSzPct val="89000"/>
              <a:buFont typeface="Arial" charset="0"/>
              <a:buChar char="-"/>
              <a:defRPr sz="900" baseline="0">
                <a:latin typeface="+mn-lt"/>
              </a:defRPr>
            </a:lvl5pPr>
            <a:lvl6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6pPr>
            <a:lvl7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7pPr>
            <a:lvl8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8pPr>
            <a:lvl9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9pPr>
          </a:lstStyle>
          <a:p>
            <a:pPr algn="ctr"/>
            <a:r>
              <a:rPr lang="en-US" sz="1400" b="1" dirty="0">
                <a:solidFill>
                  <a:schemeClr val="accent2"/>
                </a:solidFill>
              </a:rPr>
              <a:t>Bottom 10%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35C12619-5A4B-4B98-ADAB-13D2BC965DD3}"/>
              </a:ext>
            </a:extLst>
          </p:cNvPr>
          <p:cNvSpPr txBox="1">
            <a:spLocks/>
          </p:cNvSpPr>
          <p:nvPr/>
        </p:nvSpPr>
        <p:spPr>
          <a:xfrm>
            <a:off x="9646127" y="1214121"/>
            <a:ext cx="11261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29528" eaLnBrk="1" hangingPunct="1">
              <a:buClr>
                <a:schemeClr val="tx2"/>
              </a:buClr>
              <a:defRPr sz="900" baseline="0">
                <a:latin typeface="+mn-lt"/>
              </a:defRPr>
            </a:lvl1pPr>
            <a:lvl2pPr marL="114304" lvl="1" indent="-114304" defTabSz="629528" eaLnBrk="1" hangingPunct="1">
              <a:buClr>
                <a:schemeClr val="tx1"/>
              </a:buClr>
              <a:buSzPct val="120000"/>
              <a:buFont typeface="Arial" charset="0"/>
              <a:buChar char="▪"/>
              <a:defRPr sz="900" baseline="0">
                <a:latin typeface="+mn-lt"/>
              </a:defRPr>
            </a:lvl2pPr>
            <a:lvl3pPr marL="285759" lvl="2" indent="-171456" defTabSz="629528" eaLnBrk="1" hangingPunct="1">
              <a:buClr>
                <a:schemeClr val="tx1"/>
              </a:buClr>
              <a:buSzPct val="120000"/>
              <a:buFont typeface="Arial" charset="0"/>
              <a:buChar char="–"/>
              <a:defRPr sz="900" baseline="0">
                <a:latin typeface="+mn-lt"/>
              </a:defRPr>
            </a:lvl3pPr>
            <a:lvl4pPr marL="400064" lvl="3" indent="-114304" defTabSz="629528" eaLnBrk="1" hangingPunct="1">
              <a:buClr>
                <a:schemeClr val="tx1"/>
              </a:buClr>
              <a:buSzPct val="120000"/>
              <a:buFont typeface="Arial" charset="0"/>
              <a:buChar char="▫"/>
              <a:defRPr sz="900" baseline="0">
                <a:latin typeface="+mn-lt"/>
              </a:defRPr>
            </a:lvl4pPr>
            <a:lvl5pPr marL="514368" lvl="4" indent="-114304" defTabSz="629528" eaLnBrk="1" hangingPunct="1">
              <a:buClr>
                <a:schemeClr val="tx1"/>
              </a:buClr>
              <a:buSzPct val="89000"/>
              <a:buFont typeface="Arial" charset="0"/>
              <a:buChar char="-"/>
              <a:defRPr sz="900" baseline="0">
                <a:latin typeface="+mn-lt"/>
              </a:defRPr>
            </a:lvl5pPr>
            <a:lvl6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6pPr>
            <a:lvl7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7pPr>
            <a:lvl8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8pPr>
            <a:lvl9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9pPr>
          </a:lstStyle>
          <a:p>
            <a:pPr algn="ctr"/>
            <a:r>
              <a:rPr lang="en-US" sz="1400" b="1" dirty="0">
                <a:solidFill>
                  <a:schemeClr val="accent2"/>
                </a:solidFill>
              </a:rPr>
              <a:t>Top 10%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0CB510D-83A0-4B8B-9FD3-C58ECBC5F2FB}"/>
              </a:ext>
            </a:extLst>
          </p:cNvPr>
          <p:cNvSpPr txBox="1">
            <a:spLocks/>
          </p:cNvSpPr>
          <p:nvPr/>
        </p:nvSpPr>
        <p:spPr>
          <a:xfrm>
            <a:off x="10593864" y="1214121"/>
            <a:ext cx="11261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29528" eaLnBrk="1" hangingPunct="1">
              <a:buClr>
                <a:schemeClr val="tx2"/>
              </a:buClr>
              <a:defRPr sz="900" baseline="0">
                <a:latin typeface="+mn-lt"/>
              </a:defRPr>
            </a:lvl1pPr>
            <a:lvl2pPr marL="114304" lvl="1" indent="-114304" defTabSz="629528" eaLnBrk="1" hangingPunct="1">
              <a:buClr>
                <a:schemeClr val="tx1"/>
              </a:buClr>
              <a:buSzPct val="120000"/>
              <a:buFont typeface="Arial" charset="0"/>
              <a:buChar char="▪"/>
              <a:defRPr sz="900" baseline="0">
                <a:latin typeface="+mn-lt"/>
              </a:defRPr>
            </a:lvl2pPr>
            <a:lvl3pPr marL="285759" lvl="2" indent="-171456" defTabSz="629528" eaLnBrk="1" hangingPunct="1">
              <a:buClr>
                <a:schemeClr val="tx1"/>
              </a:buClr>
              <a:buSzPct val="120000"/>
              <a:buFont typeface="Arial" charset="0"/>
              <a:buChar char="–"/>
              <a:defRPr sz="900" baseline="0">
                <a:latin typeface="+mn-lt"/>
              </a:defRPr>
            </a:lvl3pPr>
            <a:lvl4pPr marL="400064" lvl="3" indent="-114304" defTabSz="629528" eaLnBrk="1" hangingPunct="1">
              <a:buClr>
                <a:schemeClr val="tx1"/>
              </a:buClr>
              <a:buSzPct val="120000"/>
              <a:buFont typeface="Arial" charset="0"/>
              <a:buChar char="▫"/>
              <a:defRPr sz="900" baseline="0">
                <a:latin typeface="+mn-lt"/>
              </a:defRPr>
            </a:lvl4pPr>
            <a:lvl5pPr marL="514368" lvl="4" indent="-114304" defTabSz="629528" eaLnBrk="1" hangingPunct="1">
              <a:buClr>
                <a:schemeClr val="tx1"/>
              </a:buClr>
              <a:buSzPct val="89000"/>
              <a:buFont typeface="Arial" charset="0"/>
              <a:buChar char="-"/>
              <a:defRPr sz="900" baseline="0">
                <a:latin typeface="+mn-lt"/>
              </a:defRPr>
            </a:lvl5pPr>
            <a:lvl6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6pPr>
            <a:lvl7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7pPr>
            <a:lvl8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8pPr>
            <a:lvl9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9pPr>
          </a:lstStyle>
          <a:p>
            <a:pPr algn="ctr"/>
            <a:r>
              <a:rPr lang="en-US" sz="1400" b="1" dirty="0">
                <a:solidFill>
                  <a:schemeClr val="accent2"/>
                </a:solidFill>
              </a:rPr>
              <a:t>Top 1%</a:t>
            </a:r>
          </a:p>
        </p:txBody>
      </p:sp>
      <p:sp>
        <p:nvSpPr>
          <p:cNvPr id="61" name="Oval 333">
            <a:extLst>
              <a:ext uri="{FF2B5EF4-FFF2-40B4-BE49-F238E27FC236}">
                <a16:creationId xmlns:a16="http://schemas.microsoft.com/office/drawing/2014/main" id="{2B8A35CC-896C-416F-BCEB-B4632CB54BEC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9949935" y="4080271"/>
            <a:ext cx="518556" cy="288926"/>
          </a:xfrm>
          <a:prstGeom prst="ellipse">
            <a:avLst/>
          </a:prstGeom>
          <a:solidFill>
            <a:srgbClr val="00B050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1.6x</a:t>
            </a: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3816EEB3-CB56-4CBB-9781-3ADFFACA8D2D}"/>
              </a:ext>
            </a:extLst>
          </p:cNvPr>
          <p:cNvCxnSpPr>
            <a:cxnSpLocks/>
          </p:cNvCxnSpPr>
          <p:nvPr/>
        </p:nvCxnSpPr>
        <p:spPr>
          <a:xfrm>
            <a:off x="11156950" y="2856611"/>
            <a:ext cx="0" cy="677863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Oval 333">
            <a:extLst>
              <a:ext uri="{FF2B5EF4-FFF2-40B4-BE49-F238E27FC236}">
                <a16:creationId xmlns:a16="http://schemas.microsoft.com/office/drawing/2014/main" id="{3A6837C0-5835-4698-A4DD-FA34AD78DF35}"/>
              </a:ext>
            </a:extLst>
          </p:cNvPr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10897672" y="3051079"/>
            <a:ext cx="518556" cy="288926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1.8x</a:t>
            </a:r>
          </a:p>
        </p:txBody>
      </p:sp>
    </p:spTree>
    <p:extLst>
      <p:ext uri="{BB962C8B-B14F-4D97-AF65-F5344CB8AC3E}">
        <p14:creationId xmlns:p14="http://schemas.microsoft.com/office/powerpoint/2010/main" val="30660014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9DC3A84-10D1-47C3-A65D-2B6AB3689D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7050967"/>
              </p:ext>
            </p:extLst>
          </p:nvPr>
        </p:nvGraphicFramePr>
        <p:xfrm>
          <a:off x="1495425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1" name="think-cell Slide" r:id="rId23" imgW="493" imgH="493" progId="TCLayout.ActiveDocument.1">
                  <p:embed/>
                </p:oleObj>
              </mc:Choice>
              <mc:Fallback>
                <p:oleObj name="think-cell Slide" r:id="rId23" imgW="493" imgH="49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9DC3A84-10D1-47C3-A65D-2B6AB3689D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495425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4F389B7-8E1D-47CC-ACCD-6A76B83EA1F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800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5. Source">
            <a:extLst>
              <a:ext uri="{FF2B5EF4-FFF2-40B4-BE49-F238E27FC236}">
                <a16:creationId xmlns:a16="http://schemas.microsoft.com/office/drawing/2014/main" id="{30DE6A72-CC02-4B50-B4A1-F52463A080A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895350">
              <a:tabLst>
                <a:tab pos="514350" algn="l"/>
              </a:tabLst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SOURCE:	McKinsey Corporate Performance Analytics; EU Industrial R&amp;D Investment Scoreboard; McKinsey Global Institute analysis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3715AB5-25C4-440C-8AAE-BF727A9D6D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0777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pPr>
              <a:defRPr/>
            </a:pPr>
            <a:r>
              <a:rPr lang="en-US" dirty="0"/>
              <a:t>Superstars seem to matter for innovation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003B9666-2079-45BD-997C-347B72977D40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62054575"/>
              </p:ext>
            </p:extLst>
          </p:nvPr>
        </p:nvGraphicFramePr>
        <p:xfrm>
          <a:off x="95250" y="1350963"/>
          <a:ext cx="4121150" cy="5094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37" name="Rectangle 36">
            <a:extLst>
              <a:ext uri="{FF2B5EF4-FFF2-40B4-BE49-F238E27FC236}">
                <a16:creationId xmlns:a16="http://schemas.microsoft.com/office/drawing/2014/main" id="{D043E17F-1FD3-4E42-9CA0-17691AB99E7B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982913" y="4295775"/>
            <a:ext cx="61595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altLang="en-US" sz="1800" b="1" dirty="0">
                <a:solidFill>
                  <a:schemeClr val="tx2"/>
                </a:solidFill>
              </a:rPr>
              <a:t>2.03x</a:t>
            </a:r>
            <a:endParaRPr lang="en-US" sz="1800" b="1" noProof="0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0E21EE1-1BB2-4D6E-B1B0-2F99D63B17D0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4159250" y="5365750"/>
            <a:ext cx="61595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altLang="en-US" sz="1800" b="1" dirty="0">
                <a:solidFill>
                  <a:schemeClr val="tx2"/>
                </a:solidFill>
              </a:rPr>
              <a:t>2.88x</a:t>
            </a:r>
            <a:endParaRPr lang="en-US" sz="1800" b="1" noProof="0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425B74C-43E7-4431-948C-4DCB10AE8670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692150" y="2157413"/>
            <a:ext cx="61595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altLang="en-US" sz="1800" b="1" dirty="0">
                <a:solidFill>
                  <a:schemeClr val="tx2"/>
                </a:solidFill>
                <a:sym typeface="+mn-lt"/>
              </a:rPr>
              <a:t>0.36x</a:t>
            </a:r>
            <a:endParaRPr lang="en-US" sz="1800" b="1" noProof="0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48" name="Legend4">
            <a:extLst>
              <a:ext uri="{FF2B5EF4-FFF2-40B4-BE49-F238E27FC236}">
                <a16:creationId xmlns:a16="http://schemas.microsoft.com/office/drawing/2014/main" id="{3481ED1E-6A2C-4372-8AB0-376C4C20F8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67150" y="1373921"/>
            <a:ext cx="13589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895350">
              <a:buClr>
                <a:schemeClr val="tx2"/>
              </a:buClr>
            </a:pPr>
            <a:r>
              <a:rPr lang="en-US" sz="1200" b="1" dirty="0">
                <a:solidFill>
                  <a:schemeClr val="tx2"/>
                </a:solidFill>
                <a:latin typeface="+mn-lt"/>
              </a:rPr>
              <a:t>Multiple of media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BF0A173-77AB-43FC-994B-D4548901C536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897312" y="1647824"/>
            <a:ext cx="165100" cy="1651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 err="1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4B447FE-D107-46BA-A382-8710B424926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897312" y="1919287"/>
            <a:ext cx="165100" cy="1651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 err="1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963AD6C-F946-43FE-91A8-1885489FA781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897312" y="2190749"/>
            <a:ext cx="165100" cy="16510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 err="1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8C57AF2-742E-44C9-BC68-20444B4E818A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897312" y="2462212"/>
            <a:ext cx="165100" cy="1651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 err="1">
              <a:solidFill>
                <a:schemeClr val="tx1"/>
              </a:solidFill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EB8D6340-76C2-4525-A49A-54E6DAC37DF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164013" y="1646238"/>
            <a:ext cx="9810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19B1BCA-8450-4BB8-B0BF-998FEBCA4F52}" type="datetime'In'''' ''''''''''''b''''ott''om ''''''''''10''''%'''''">
              <a:rPr lang="de-CH" altLang="en-US" sz="1200" smtClean="0">
                <a:sym typeface="+mn-lt"/>
              </a:rPr>
              <a:pPr/>
              <a:t>In bottom 10%</a:t>
            </a:fld>
            <a:endParaRPr lang="de-CH" sz="1200" dirty="0">
              <a:sym typeface="+mn-lt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1AE6CD15-636C-4A8C-B68A-A29B859CA26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164012" y="2460625"/>
            <a:ext cx="6429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7B75CB2-F514-4B96-86A5-952C3EBC9B5F}" type="datetime'I''''n'' ''''''to''''p'''''''''''''' ''''''''''''''1''''%'''">
              <a:rPr lang="de-CH" altLang="en-US" sz="1200" smtClean="0">
                <a:sym typeface="+mn-lt"/>
              </a:rPr>
              <a:pPr/>
              <a:t>In top 1%</a:t>
            </a:fld>
            <a:endParaRPr lang="de-CH" sz="1200" dirty="0">
              <a:sym typeface="+mn-lt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1E540C4D-83A0-4606-8185-346C8463314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164013" y="1917700"/>
            <a:ext cx="4968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B49CEAB-DEFE-44F3-9714-45F5335900F4}" type="datetime'''''''Me''d''''''''''''''i''''''''''''''a''n'''''''''''">
              <a:rPr lang="de-CH" altLang="en-US" sz="1200" smtClean="0">
                <a:sym typeface="+mn-lt"/>
              </a:rPr>
              <a:pPr/>
              <a:t>Median</a:t>
            </a:fld>
            <a:endParaRPr lang="de-CH" sz="1200" dirty="0"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DA6318F1-2B5E-49C4-A288-0F93F5609A9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164013" y="2189163"/>
            <a:ext cx="7270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BFDA549-08AD-4E2A-9125-AC1078694D41}" type="datetime'In'''' ''''''''''t''''''op'''''''' ''''''1''0''''%'''''''">
              <a:rPr lang="de-CH" altLang="en-US" sz="1200" smtClean="0">
                <a:sym typeface="+mn-lt"/>
              </a:rPr>
              <a:pPr/>
              <a:t>In top 10%</a:t>
            </a:fld>
            <a:endParaRPr lang="de-CH" sz="1200" dirty="0">
              <a:sym typeface="+mn-lt"/>
            </a:endParaRPr>
          </a:p>
        </p:txBody>
      </p: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790BF7BA-F0C2-4A41-84C2-CF4A07D25F54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78134003"/>
              </p:ext>
            </p:extLst>
          </p:nvPr>
        </p:nvGraphicFramePr>
        <p:xfrm>
          <a:off x="7000875" y="1350963"/>
          <a:ext cx="3311525" cy="5065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70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0255250" y="2520950"/>
            <a:ext cx="4318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800" dirty="0">
                <a:sym typeface="+mn-lt"/>
              </a:rPr>
              <a:t>~</a:t>
            </a:r>
            <a:fld id="{9D22D6D6-55D9-4821-9A88-A78291DEEF17}" type="datetime'''''''''''''''''9''''''''''''''''''0'''''''''''''''''">
              <a:rPr lang="en-US" altLang="en-US" sz="1800" smtClean="0">
                <a:sym typeface="+mn-lt"/>
              </a:rPr>
              <a:pPr/>
              <a:t>90</a:t>
            </a:fld>
            <a:endParaRPr lang="en-US" sz="1800" dirty="0">
              <a:sym typeface="+mn-lt"/>
            </a:endParaRP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58CB2A2F-A494-43A3-9A02-223B1FF21DD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978525" y="2520949"/>
            <a:ext cx="9525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D678EC5-6E0E-4953-A255-994BC6EA1E92}" type="datetime'T''''''''''''''''o''p''-2''''''''''''''''5''''''''00'''">
              <a:rPr lang="de-CH" altLang="en-US" sz="1800" smtClean="0"/>
              <a:pPr/>
              <a:t>Top-2500</a:t>
            </a:fld>
            <a:endParaRPr lang="de-CH" sz="1800" dirty="0">
              <a:sym typeface="+mn-lt"/>
            </a:endParaRPr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56E5C898-7CFC-466C-AC48-9431E574285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978525" y="4972049"/>
            <a:ext cx="8890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E011C01-95B0-40CA-98F8-7FA3120A1A8A}" type="datetime'T''''''''op''''''''''''''''''-''''25''''''''''''''''0'''''' '">
              <a:rPr lang="de-CH" altLang="en-US" sz="1800" smtClean="0"/>
              <a:pPr/>
              <a:t>Top-250 </a:t>
            </a:fld>
            <a:endParaRPr lang="de-CH" sz="1800" dirty="0"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9310688" y="4972050"/>
            <a:ext cx="4318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800" dirty="0">
                <a:sym typeface="+mn-lt"/>
              </a:rPr>
              <a:t>~</a:t>
            </a:r>
            <a:fld id="{17F725E4-646C-4584-B1D5-459B2945D12A}" type="datetime'''''''6''3'''''''''''''''''''''''''">
              <a:rPr lang="en-US" altLang="en-US" sz="1800" smtClean="0">
                <a:sym typeface="+mn-lt"/>
              </a:rPr>
              <a:pPr/>
              <a:t>63</a:t>
            </a:fld>
            <a:endParaRPr lang="en-US" sz="1800" dirty="0">
              <a:sym typeface="+mn-lt"/>
            </a:endParaRPr>
          </a:p>
        </p:txBody>
      </p:sp>
      <p:grpSp>
        <p:nvGrpSpPr>
          <p:cNvPr id="26" name="ACET"/>
          <p:cNvGrpSpPr>
            <a:grpSpLocks/>
          </p:cNvGrpSpPr>
          <p:nvPr/>
        </p:nvGrpSpPr>
        <p:grpSpPr bwMode="gray">
          <a:xfrm>
            <a:off x="158760" y="745928"/>
            <a:ext cx="5685618" cy="573088"/>
            <a:chOff x="915" y="669"/>
            <a:chExt cx="2686" cy="361"/>
          </a:xfrm>
        </p:grpSpPr>
        <p:cxnSp>
          <p:nvCxnSpPr>
            <p:cNvPr id="27" name="AutoShape 249"/>
            <p:cNvCxnSpPr>
              <a:cxnSpLocks noChangeShapeType="1"/>
              <a:stCxn id="28" idx="4"/>
              <a:endCxn id="2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8" name="AutoShape 250"/>
            <p:cNvSpPr>
              <a:spLocks noChangeArrowheads="1"/>
            </p:cNvSpPr>
            <p:nvPr/>
          </p:nvSpPr>
          <p:spPr bwMode="gray">
            <a:xfrm>
              <a:off x="915" y="669"/>
              <a:ext cx="2686" cy="3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00" b="1" dirty="0">
                  <a:solidFill>
                    <a:schemeClr val="tx2"/>
                  </a:solidFill>
                  <a:latin typeface="+mn-lt"/>
                </a:rPr>
                <a:t>R&amp;D intensity</a:t>
              </a:r>
              <a:br>
                <a:rPr lang="en-US" sz="1800" b="1" dirty="0">
                  <a:solidFill>
                    <a:schemeClr val="tx2"/>
                  </a:solidFill>
                  <a:latin typeface="+mn-lt"/>
                </a:rPr>
              </a:br>
              <a:r>
                <a:rPr lang="en-US" sz="1800" dirty="0">
                  <a:solidFill>
                    <a:schemeClr val="accent6"/>
                  </a:solidFill>
                  <a:latin typeface="+mn-lt"/>
                </a:rPr>
                <a:t>R&amp;D spend as % of revenues by economic profit decile</a:t>
              </a:r>
              <a:endParaRPr lang="en-US" sz="1800" baseline="0" noProof="0" dirty="0">
                <a:solidFill>
                  <a:schemeClr val="accent6"/>
                </a:solidFill>
                <a:latin typeface="+mn-lt"/>
              </a:endParaRPr>
            </a:p>
          </p:txBody>
        </p:sp>
      </p:grpSp>
      <p:grpSp>
        <p:nvGrpSpPr>
          <p:cNvPr id="29" name="ACET"/>
          <p:cNvGrpSpPr>
            <a:grpSpLocks/>
          </p:cNvGrpSpPr>
          <p:nvPr/>
        </p:nvGrpSpPr>
        <p:grpSpPr bwMode="gray">
          <a:xfrm>
            <a:off x="5965032" y="745928"/>
            <a:ext cx="5685618" cy="573088"/>
            <a:chOff x="915" y="669"/>
            <a:chExt cx="2686" cy="361"/>
          </a:xfrm>
        </p:grpSpPr>
        <p:cxnSp>
          <p:nvCxnSpPr>
            <p:cNvPr id="30" name="AutoShape 249"/>
            <p:cNvCxnSpPr>
              <a:cxnSpLocks noChangeShapeType="1"/>
              <a:stCxn id="31" idx="4"/>
              <a:endCxn id="31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1" name="AutoShape 250"/>
            <p:cNvSpPr>
              <a:spLocks noChangeArrowheads="1"/>
            </p:cNvSpPr>
            <p:nvPr/>
          </p:nvSpPr>
          <p:spPr bwMode="gray">
            <a:xfrm>
              <a:off x="915" y="669"/>
              <a:ext cx="2686" cy="3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00" b="1" dirty="0">
                  <a:solidFill>
                    <a:schemeClr val="tx2"/>
                  </a:solidFill>
                  <a:latin typeface="+mn-lt"/>
                </a:rPr>
                <a:t>Private sector R&amp;D spend</a:t>
              </a:r>
              <a:br>
                <a:rPr lang="en-US" sz="1800" b="1" dirty="0">
                  <a:solidFill>
                    <a:schemeClr val="tx2"/>
                  </a:solidFill>
                  <a:latin typeface="+mn-lt"/>
                </a:rPr>
              </a:br>
              <a:r>
                <a:rPr lang="en-US" sz="1800" dirty="0">
                  <a:solidFill>
                    <a:schemeClr val="accent6"/>
                  </a:solidFill>
                  <a:latin typeface="+mn-lt"/>
                </a:rPr>
                <a:t>% of total done by largest spenders</a:t>
              </a:r>
            </a:p>
          </p:txBody>
        </p:sp>
      </p:grpSp>
      <p:cxnSp>
        <p:nvCxnSpPr>
          <p:cNvPr id="12" name="Straight Connector 11"/>
          <p:cNvCxnSpPr/>
          <p:nvPr/>
        </p:nvCxnSpPr>
        <p:spPr>
          <a:xfrm>
            <a:off x="5901528" y="745928"/>
            <a:ext cx="0" cy="5569147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37536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1541D4-4F7D-4347-AFCC-100C4891AC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0883521"/>
              </p:ext>
            </p:extLst>
          </p:nvPr>
        </p:nvGraphicFramePr>
        <p:xfrm>
          <a:off x="2615408" y="841526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75" name="think-cell Slide" r:id="rId19" imgW="493" imgH="493" progId="TCLayout.ActiveDocument.1">
                  <p:embed/>
                </p:oleObj>
              </mc:Choice>
              <mc:Fallback>
                <p:oleObj name="think-cell Slide" r:id="rId19" imgW="493" imgH="49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61541D4-4F7D-4347-AFCC-100C4891A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615408" y="841526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8E3334A-5F02-4C7D-A531-3C2CA53B44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614215" y="840333"/>
            <a:ext cx="119056" cy="11905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775"/>
            <a:endParaRPr lang="de-CH" sz="1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1BCEEE6-43B1-4744-9805-DFC394642017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8240713" y="846138"/>
            <a:ext cx="165100" cy="1651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A030751-6300-4DB8-BBA5-C0BE66C3E3DE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989638" y="846138"/>
            <a:ext cx="165100" cy="1651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C669CF9-1493-41DE-AB83-F9C85E4D948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4424363" y="846138"/>
            <a:ext cx="165100" cy="165100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E99F9E6-2EEF-4D41-9E6C-4A1A2B24E5DF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9631363" y="846138"/>
            <a:ext cx="165100" cy="16510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2AA86F8-B95D-48D8-8331-3AC2E173E5DF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0928350" y="846138"/>
            <a:ext cx="165100" cy="1651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E63CAB01-D9D6-42B3-9F60-3CB6A128CEB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691063" y="844550"/>
            <a:ext cx="10953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200" dirty="0">
                <a:sym typeface="+mn-lt"/>
              </a:rPr>
              <a:t>Western Europe</a:t>
            </a:r>
          </a:p>
        </p:txBody>
      </p:sp>
      <p:sp>
        <p:nvSpPr>
          <p:cNvPr id="154" name="Text Placeholder 2">
            <a:extLst>
              <a:ext uri="{FF2B5EF4-FFF2-40B4-BE49-F238E27FC236}">
                <a16:creationId xmlns:a16="http://schemas.microsoft.com/office/drawing/2014/main" id="{6AFE25F9-E665-4CE9-8E85-C8FED3DFFC2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507413" y="844550"/>
            <a:ext cx="9207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200" dirty="0">
                <a:sym typeface="+mn-lt"/>
              </a:rPr>
              <a:t>Latin America</a:t>
            </a:r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id="{DA9D656E-61B3-4F85-B396-5A6A42FD0DE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256338" y="844550"/>
            <a:ext cx="17811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200" dirty="0">
                <a:sym typeface="+mn-lt"/>
              </a:rPr>
              <a:t>United States and Canada</a:t>
            </a:r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4AB10347-9C7D-4171-81BF-8858EF08EA7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1195050" y="844550"/>
            <a:ext cx="3952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200" dirty="0">
                <a:sym typeface="+mn-lt"/>
              </a:rPr>
              <a:t>China</a:t>
            </a:r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id="{F37786EF-C4C7-4A23-BD6C-E6481CF829E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898063" y="844550"/>
            <a:ext cx="8270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200" dirty="0">
                <a:sym typeface="+mn-lt"/>
              </a:rPr>
              <a:t>Asia–Pacifi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81F534-A433-4669-B837-ACFC1F34C9C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Europe is losing share of large superstar companies</a:t>
            </a:r>
          </a:p>
        </p:txBody>
      </p:sp>
      <p:sp>
        <p:nvSpPr>
          <p:cNvPr id="4" name="4. Footnote">
            <a:extLst>
              <a:ext uri="{FF2B5EF4-FFF2-40B4-BE49-F238E27FC236}">
                <a16:creationId xmlns:a16="http://schemas.microsoft.com/office/drawing/2014/main" id="{1B1A774B-40DA-4ED8-AD19-A6411F3EB7F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58758" y="6183549"/>
            <a:ext cx="1139875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 defTabSz="671488">
              <a:defRPr/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1	Compared to median firms in the economic profit distribution …</a:t>
            </a:r>
          </a:p>
          <a:p>
            <a:pPr marL="85725" indent="-85725" defTabSz="671488">
              <a:defRPr/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NOTE: Superstar firm is represented as a firm with the largest economic profit, eg NOPLAT minus weighted cost of capital charges  </a:t>
            </a:r>
          </a:p>
        </p:txBody>
      </p:sp>
      <p:sp>
        <p:nvSpPr>
          <p:cNvPr id="5" name="5. Source">
            <a:extLst>
              <a:ext uri="{FF2B5EF4-FFF2-40B4-BE49-F238E27FC236}">
                <a16:creationId xmlns:a16="http://schemas.microsoft.com/office/drawing/2014/main" id="{30DE6A72-CC02-4B50-B4A1-F52463A080A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671488">
              <a:tabLst>
                <a:tab pos="385749" algn="l"/>
              </a:tabLst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SOURCE:	Capital IQ; McKinsey Corporate Performance Analytics, McKinsey Global Institute analysis </a:t>
            </a:r>
          </a:p>
        </p:txBody>
      </p:sp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84679157-6E97-46CE-8DA4-81461791FA40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75069855"/>
              </p:ext>
            </p:extLst>
          </p:nvPr>
        </p:nvGraphicFramePr>
        <p:xfrm>
          <a:off x="3611563" y="1111250"/>
          <a:ext cx="4397375" cy="4397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9B0C6A44-283C-4A5E-BF2C-847F19CE2F9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722688" y="2933700"/>
            <a:ext cx="374650" cy="2746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888F688-FEC5-4E8F-AEB4-38870F698415}" type="datetime'2''''''''''''''''''''''%'''''''''''''''''''">
              <a:rPr lang="en-US" altLang="en-US" sz="1800">
                <a:solidFill>
                  <a:schemeClr val="bg1"/>
                </a:solidFill>
                <a:sym typeface="+mn-lt"/>
              </a:rPr>
              <a:pPr algn="ctr"/>
              <a:t>2%</a:t>
            </a:fld>
            <a:endParaRPr lang="en-US" sz="1800" dirty="0">
              <a:solidFill>
                <a:schemeClr val="bg1"/>
              </a:solidFill>
              <a:sym typeface="+mn-lt"/>
            </a:endParaRPr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065BCC3D-BB1C-4822-99F2-1E5147E4A90A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828728788"/>
              </p:ext>
            </p:extLst>
          </p:nvPr>
        </p:nvGraphicFramePr>
        <p:xfrm>
          <a:off x="4310063" y="1749425"/>
          <a:ext cx="3189287" cy="2944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grpSp>
        <p:nvGrpSpPr>
          <p:cNvPr id="9" name="Group 8"/>
          <p:cNvGrpSpPr/>
          <p:nvPr/>
        </p:nvGrpSpPr>
        <p:grpSpPr>
          <a:xfrm>
            <a:off x="4052888" y="5473700"/>
            <a:ext cx="1764369" cy="614363"/>
            <a:chOff x="1184275" y="5491966"/>
            <a:chExt cx="1764369" cy="614103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E687E5B9-596F-492A-B862-D45234FC77E1}"/>
                </a:ext>
              </a:extLst>
            </p:cNvPr>
            <p:cNvSpPr txBox="1"/>
            <p:nvPr/>
          </p:nvSpPr>
          <p:spPr>
            <a:xfrm>
              <a:off x="1845778" y="5675907"/>
              <a:ext cx="1102866" cy="276999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1800" dirty="0"/>
                <a:t>1995-1997</a:t>
              </a:r>
            </a:p>
          </p:txBody>
        </p:sp>
        <p:grpSp>
          <p:nvGrpSpPr>
            <p:cNvPr id="192" name="Group 191">
              <a:extLst>
                <a:ext uri="{FF2B5EF4-FFF2-40B4-BE49-F238E27FC236}">
                  <a16:creationId xmlns:a16="http://schemas.microsoft.com/office/drawing/2014/main" id="{81B7DA68-2BE1-4C3C-9254-D8E61DC8BEDE}"/>
                </a:ext>
              </a:extLst>
            </p:cNvPr>
            <p:cNvGrpSpPr/>
            <p:nvPr/>
          </p:nvGrpSpPr>
          <p:grpSpPr>
            <a:xfrm>
              <a:off x="1184275" y="5491966"/>
              <a:ext cx="613797" cy="614103"/>
              <a:chOff x="9168449" y="3332518"/>
              <a:chExt cx="1339214" cy="1339214"/>
            </a:xfrm>
          </p:grpSpPr>
          <p:sp>
            <p:nvSpPr>
              <p:cNvPr id="193" name="Oval 192">
                <a:extLst>
                  <a:ext uri="{FF2B5EF4-FFF2-40B4-BE49-F238E27FC236}">
                    <a16:creationId xmlns:a16="http://schemas.microsoft.com/office/drawing/2014/main" id="{06C32244-993D-4DD0-A11F-62B88B31837B}"/>
                  </a:ext>
                </a:extLst>
              </p:cNvPr>
              <p:cNvSpPr/>
              <p:nvPr/>
            </p:nvSpPr>
            <p:spPr>
              <a:xfrm>
                <a:off x="9168449" y="3332518"/>
                <a:ext cx="1339214" cy="133921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77" tIns="34288" rIns="68577" bIns="342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4" name="Oval 193">
                <a:extLst>
                  <a:ext uri="{FF2B5EF4-FFF2-40B4-BE49-F238E27FC236}">
                    <a16:creationId xmlns:a16="http://schemas.microsoft.com/office/drawing/2014/main" id="{F33DEEC7-6891-4E71-96C5-A36AE30A9311}"/>
                  </a:ext>
                </a:extLst>
              </p:cNvPr>
              <p:cNvSpPr/>
              <p:nvPr/>
            </p:nvSpPr>
            <p:spPr>
              <a:xfrm>
                <a:off x="9409460" y="3573529"/>
                <a:ext cx="857192" cy="857192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77" tIns="34288" rIns="68577" bIns="342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 dirty="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16" name="Group 15"/>
          <p:cNvGrpSpPr/>
          <p:nvPr/>
        </p:nvGrpSpPr>
        <p:grpSpPr>
          <a:xfrm>
            <a:off x="5949166" y="5473700"/>
            <a:ext cx="1781563" cy="614363"/>
            <a:chOff x="2777054" y="5491966"/>
            <a:chExt cx="1781563" cy="614103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E0C31E52-45DC-4E06-A5D4-A414104DF177}"/>
                </a:ext>
              </a:extLst>
            </p:cNvPr>
            <p:cNvGrpSpPr/>
            <p:nvPr/>
          </p:nvGrpSpPr>
          <p:grpSpPr>
            <a:xfrm>
              <a:off x="2777054" y="5491966"/>
              <a:ext cx="613797" cy="614103"/>
              <a:chOff x="9168449" y="3332518"/>
              <a:chExt cx="1339214" cy="1339214"/>
            </a:xfrm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8252F8AB-3310-4E69-AFEC-B15999426BBC}"/>
                  </a:ext>
                </a:extLst>
              </p:cNvPr>
              <p:cNvSpPr/>
              <p:nvPr/>
            </p:nvSpPr>
            <p:spPr>
              <a:xfrm>
                <a:off x="9168449" y="3332518"/>
                <a:ext cx="1339214" cy="133921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9" name="Oval 188">
                <a:extLst>
                  <a:ext uri="{FF2B5EF4-FFF2-40B4-BE49-F238E27FC236}">
                    <a16:creationId xmlns:a16="http://schemas.microsoft.com/office/drawing/2014/main" id="{E6816157-38EC-460B-941E-7D84BFED73E7}"/>
                  </a:ext>
                </a:extLst>
              </p:cNvPr>
              <p:cNvSpPr/>
              <p:nvPr/>
            </p:nvSpPr>
            <p:spPr>
              <a:xfrm>
                <a:off x="9409460" y="3573529"/>
                <a:ext cx="857192" cy="857192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C1CB50F5-0E20-45AD-8A9F-5E30137F51C9}"/>
                </a:ext>
              </a:extLst>
            </p:cNvPr>
            <p:cNvSpPr txBox="1"/>
            <p:nvPr/>
          </p:nvSpPr>
          <p:spPr>
            <a:xfrm>
              <a:off x="3455751" y="5675907"/>
              <a:ext cx="1102866" cy="276999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1800" dirty="0"/>
                <a:t>2014-2016</a:t>
              </a:r>
            </a:p>
          </p:txBody>
        </p:sp>
      </p:grpSp>
      <p:sp>
        <p:nvSpPr>
          <p:cNvPr id="54" name="3. Unit of measure">
            <a:extLst>
              <a:ext uri="{FF2B5EF4-FFF2-40B4-BE49-F238E27FC236}">
                <a16:creationId xmlns:a16="http://schemas.microsoft.com/office/drawing/2014/main" id="{ACF4CC0D-7A1D-42C3-B0C0-9A3B15FE703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58759" y="537966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chemeClr val="accent6"/>
                </a:solidFill>
                <a:latin typeface="+mn-lt"/>
              </a:rPr>
              <a:t>Regional representation of firms within the top 1% of economic profit; %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973A724C-7279-4578-9645-1C49A09A966E}"/>
              </a:ext>
            </a:extLst>
          </p:cNvPr>
          <p:cNvSpPr>
            <a:spLocks noGrp="1"/>
          </p:cNvSpPr>
          <p:nvPr/>
        </p:nvSpPr>
        <p:spPr bwMode="gray">
          <a:xfrm>
            <a:off x="5066506" y="2090738"/>
            <a:ext cx="387350" cy="2746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6580C38-ADBD-46FA-92C4-C053CBE0A57A}" type="datetime'''4''''''''''''''''''''''''''%'''''''''''">
              <a:rPr lang="en-US" altLang="en-US" sz="1800">
                <a:solidFill>
                  <a:schemeClr val="bg1"/>
                </a:solidFill>
                <a:sym typeface="+mn-lt"/>
              </a:rPr>
              <a:pPr algn="ctr"/>
              <a:t>4%</a:t>
            </a:fld>
            <a:endParaRPr lang="en-US" sz="1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F1644F46-6DD3-442C-8B7E-9C9CEBA65ED0}"/>
              </a:ext>
            </a:extLst>
          </p:cNvPr>
          <p:cNvSpPr>
            <a:spLocks noGrp="1"/>
          </p:cNvSpPr>
          <p:nvPr/>
        </p:nvSpPr>
        <p:spPr bwMode="gray">
          <a:xfrm>
            <a:off x="5453856" y="1752600"/>
            <a:ext cx="387350" cy="2746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DAA9827-76AD-488C-B30D-DC6FFE959EF0}" type="datetime'''4''''''''''''''''''''''''''%'''''''''''''''''''''''''">
              <a:rPr lang="en-US" altLang="en-US" sz="1800">
                <a:solidFill>
                  <a:schemeClr val="bg1"/>
                </a:solidFill>
                <a:sym typeface="+mn-lt"/>
              </a:rPr>
              <a:pPr algn="ctr"/>
              <a:t>4%</a:t>
            </a:fld>
            <a:endParaRPr lang="en-US" sz="1800" dirty="0">
              <a:solidFill>
                <a:schemeClr val="bg1"/>
              </a:solidFill>
              <a:sym typeface="+mn-lt"/>
            </a:endParaRPr>
          </a:p>
        </p:txBody>
      </p: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97961338-6B96-4ECB-946B-7A50036EE016}"/>
              </a:ext>
            </a:extLst>
          </p:cNvPr>
          <p:cNvCxnSpPr>
            <a:cxnSpLocks/>
          </p:cNvCxnSpPr>
          <p:nvPr/>
        </p:nvCxnSpPr>
        <p:spPr>
          <a:xfrm flipV="1">
            <a:off x="6553651" y="1925638"/>
            <a:ext cx="282575" cy="495300"/>
          </a:xfrm>
          <a:prstGeom prst="straightConnector1">
            <a:avLst/>
          </a:prstGeom>
          <a:ln w="28575">
            <a:solidFill>
              <a:schemeClr val="bg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Oval 64">
            <a:extLst>
              <a:ext uri="{FF2B5EF4-FFF2-40B4-BE49-F238E27FC236}">
                <a16:creationId xmlns:a16="http://schemas.microsoft.com/office/drawing/2014/main" id="{13357F55-D7DE-4188-AAF6-D68A85CB63AC}"/>
              </a:ext>
            </a:extLst>
          </p:cNvPr>
          <p:cNvSpPr/>
          <p:nvPr/>
        </p:nvSpPr>
        <p:spPr>
          <a:xfrm>
            <a:off x="6292056" y="2076450"/>
            <a:ext cx="766763" cy="306388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800" b="1" dirty="0">
                <a:solidFill>
                  <a:schemeClr val="tx2"/>
                </a:solidFill>
              </a:rPr>
              <a:t>-50%</a:t>
            </a:r>
          </a:p>
        </p:txBody>
      </p:sp>
    </p:spTree>
    <p:extLst>
      <p:ext uri="{BB962C8B-B14F-4D97-AF65-F5344CB8AC3E}">
        <p14:creationId xmlns:p14="http://schemas.microsoft.com/office/powerpoint/2010/main" val="154780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>
            <a:extLst>
              <a:ext uri="{FF2B5EF4-FFF2-40B4-BE49-F238E27FC236}">
                <a16:creationId xmlns:a16="http://schemas.microsoft.com/office/drawing/2014/main" id="{477DC95D-6766-48C6-B697-03E06A19AD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9561189"/>
              </p:ext>
            </p:extLst>
          </p:nvPr>
        </p:nvGraphicFramePr>
        <p:xfrm>
          <a:off x="2075" y="2125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25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8" name="Object 37" hidden="1">
                        <a:extLst>
                          <a:ext uri="{FF2B5EF4-FFF2-40B4-BE49-F238E27FC236}">
                            <a16:creationId xmlns:a16="http://schemas.microsoft.com/office/drawing/2014/main" id="{477DC95D-6766-48C6-B697-03E06A19AD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075" y="2125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B41E2EF-69BC-4E73-BEC0-B7F9460E956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49"/>
            <a:ext cx="207450" cy="207450"/>
          </a:xfrm>
          <a:prstGeom prst="rect">
            <a:avLst/>
          </a:prstGeom>
          <a:solidFill>
            <a:srgbClr val="27347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FF70CEF2-2D0F-4276-8845-D35C2D477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Could Europe play to its strengths despite fragmentation and change the rules of the game?</a:t>
            </a: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69CE0B6F-1129-475E-8557-17AAEC6D2188}"/>
              </a:ext>
            </a:extLst>
          </p:cNvPr>
          <p:cNvSpPr/>
          <p:nvPr/>
        </p:nvSpPr>
        <p:spPr>
          <a:xfrm>
            <a:off x="2151283" y="2651111"/>
            <a:ext cx="2200465" cy="1106110"/>
          </a:xfrm>
          <a:custGeom>
            <a:avLst/>
            <a:gdLst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388533 w 1591733"/>
              <a:gd name="connsiteY2" fmla="*/ 423333 h 702733"/>
              <a:gd name="connsiteX3" fmla="*/ 1591733 w 1591733"/>
              <a:gd name="connsiteY3" fmla="*/ 0 h 702733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733 h 702746"/>
              <a:gd name="connsiteX1" fmla="*/ 1007533 w 1591733"/>
              <a:gd name="connsiteY1" fmla="*/ 702733 h 702746"/>
              <a:gd name="connsiteX2" fmla="*/ 1229783 w 1591733"/>
              <a:gd name="connsiteY2" fmla="*/ 306916 h 702746"/>
              <a:gd name="connsiteX3" fmla="*/ 1591733 w 1591733"/>
              <a:gd name="connsiteY3" fmla="*/ 0 h 702746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858 h 702858"/>
              <a:gd name="connsiteX1" fmla="*/ 1007533 w 1591733"/>
              <a:gd name="connsiteY1" fmla="*/ 702858 h 702858"/>
              <a:gd name="connsiteX2" fmla="*/ 1229783 w 1591733"/>
              <a:gd name="connsiteY2" fmla="*/ 307041 h 702858"/>
              <a:gd name="connsiteX3" fmla="*/ 1591733 w 1591733"/>
              <a:gd name="connsiteY3" fmla="*/ 125 h 702858"/>
              <a:gd name="connsiteX0" fmla="*/ 0 w 1591733"/>
              <a:gd name="connsiteY0" fmla="*/ 702762 h 702762"/>
              <a:gd name="connsiteX1" fmla="*/ 1007533 w 1591733"/>
              <a:gd name="connsiteY1" fmla="*/ 702762 h 702762"/>
              <a:gd name="connsiteX2" fmla="*/ 1229783 w 1591733"/>
              <a:gd name="connsiteY2" fmla="*/ 306945 h 702762"/>
              <a:gd name="connsiteX3" fmla="*/ 1591733 w 1591733"/>
              <a:gd name="connsiteY3" fmla="*/ 29 h 702762"/>
              <a:gd name="connsiteX0" fmla="*/ 0 w 1591733"/>
              <a:gd name="connsiteY0" fmla="*/ 702749 h 702749"/>
              <a:gd name="connsiteX1" fmla="*/ 1007533 w 1591733"/>
              <a:gd name="connsiteY1" fmla="*/ 702749 h 702749"/>
              <a:gd name="connsiteX2" fmla="*/ 1226608 w 1591733"/>
              <a:gd name="connsiteY2" fmla="*/ 342657 h 702749"/>
              <a:gd name="connsiteX3" fmla="*/ 1591733 w 1591733"/>
              <a:gd name="connsiteY3" fmla="*/ 16 h 702749"/>
              <a:gd name="connsiteX0" fmla="*/ 0 w 1591733"/>
              <a:gd name="connsiteY0" fmla="*/ 702748 h 702748"/>
              <a:gd name="connsiteX1" fmla="*/ 1007533 w 1591733"/>
              <a:gd name="connsiteY1" fmla="*/ 702748 h 702748"/>
              <a:gd name="connsiteX2" fmla="*/ 1226608 w 1591733"/>
              <a:gd name="connsiteY2" fmla="*/ 342656 h 702748"/>
              <a:gd name="connsiteX3" fmla="*/ 1591733 w 1591733"/>
              <a:gd name="connsiteY3" fmla="*/ 15 h 702748"/>
              <a:gd name="connsiteX0" fmla="*/ 0 w 1591733"/>
              <a:gd name="connsiteY0" fmla="*/ 702893 h 702893"/>
              <a:gd name="connsiteX1" fmla="*/ 1007533 w 1591733"/>
              <a:gd name="connsiteY1" fmla="*/ 702893 h 702893"/>
              <a:gd name="connsiteX2" fmla="*/ 1226608 w 1591733"/>
              <a:gd name="connsiteY2" fmla="*/ 342801 h 702893"/>
              <a:gd name="connsiteX3" fmla="*/ 1591733 w 1591733"/>
              <a:gd name="connsiteY3" fmla="*/ 160 h 702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1733" h="702893">
                <a:moveTo>
                  <a:pt x="0" y="702893"/>
                </a:moveTo>
                <a:lnTo>
                  <a:pt x="1007533" y="702893"/>
                </a:lnTo>
                <a:cubicBezTo>
                  <a:pt x="1143176" y="702917"/>
                  <a:pt x="1225136" y="688847"/>
                  <a:pt x="1226608" y="342801"/>
                </a:cubicBezTo>
                <a:cubicBezTo>
                  <a:pt x="1228080" y="-3245"/>
                  <a:pt x="1430337" y="-1088"/>
                  <a:pt x="1591733" y="160"/>
                </a:cubicBezTo>
              </a:path>
            </a:pathLst>
          </a:cu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0" dirty="0"/>
          </a:p>
        </p:txBody>
      </p:sp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45BC90A2-2630-4FE5-ABFE-1CC0A38F6A58}"/>
              </a:ext>
            </a:extLst>
          </p:cNvPr>
          <p:cNvSpPr/>
          <p:nvPr/>
        </p:nvSpPr>
        <p:spPr>
          <a:xfrm>
            <a:off x="2151283" y="1572065"/>
            <a:ext cx="1789051" cy="1093553"/>
          </a:xfrm>
          <a:custGeom>
            <a:avLst/>
            <a:gdLst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388533 w 1591733"/>
              <a:gd name="connsiteY2" fmla="*/ 423333 h 702733"/>
              <a:gd name="connsiteX3" fmla="*/ 1591733 w 1591733"/>
              <a:gd name="connsiteY3" fmla="*/ 0 h 702733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733 h 702746"/>
              <a:gd name="connsiteX1" fmla="*/ 1007533 w 1591733"/>
              <a:gd name="connsiteY1" fmla="*/ 702733 h 702746"/>
              <a:gd name="connsiteX2" fmla="*/ 1229783 w 1591733"/>
              <a:gd name="connsiteY2" fmla="*/ 306916 h 702746"/>
              <a:gd name="connsiteX3" fmla="*/ 1591733 w 1591733"/>
              <a:gd name="connsiteY3" fmla="*/ 0 h 702746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858 h 702858"/>
              <a:gd name="connsiteX1" fmla="*/ 1007533 w 1591733"/>
              <a:gd name="connsiteY1" fmla="*/ 702858 h 702858"/>
              <a:gd name="connsiteX2" fmla="*/ 1229783 w 1591733"/>
              <a:gd name="connsiteY2" fmla="*/ 307041 h 702858"/>
              <a:gd name="connsiteX3" fmla="*/ 1591733 w 1591733"/>
              <a:gd name="connsiteY3" fmla="*/ 125 h 702858"/>
              <a:gd name="connsiteX0" fmla="*/ 0 w 1591733"/>
              <a:gd name="connsiteY0" fmla="*/ 702762 h 702762"/>
              <a:gd name="connsiteX1" fmla="*/ 1007533 w 1591733"/>
              <a:gd name="connsiteY1" fmla="*/ 702762 h 702762"/>
              <a:gd name="connsiteX2" fmla="*/ 1229783 w 1591733"/>
              <a:gd name="connsiteY2" fmla="*/ 306945 h 702762"/>
              <a:gd name="connsiteX3" fmla="*/ 1591733 w 1591733"/>
              <a:gd name="connsiteY3" fmla="*/ 29 h 702762"/>
              <a:gd name="connsiteX0" fmla="*/ 0 w 1591733"/>
              <a:gd name="connsiteY0" fmla="*/ 702749 h 702749"/>
              <a:gd name="connsiteX1" fmla="*/ 1007533 w 1591733"/>
              <a:gd name="connsiteY1" fmla="*/ 702749 h 702749"/>
              <a:gd name="connsiteX2" fmla="*/ 1226608 w 1591733"/>
              <a:gd name="connsiteY2" fmla="*/ 342657 h 702749"/>
              <a:gd name="connsiteX3" fmla="*/ 1591733 w 1591733"/>
              <a:gd name="connsiteY3" fmla="*/ 16 h 702749"/>
              <a:gd name="connsiteX0" fmla="*/ 0 w 1591733"/>
              <a:gd name="connsiteY0" fmla="*/ 702748 h 702748"/>
              <a:gd name="connsiteX1" fmla="*/ 1007533 w 1591733"/>
              <a:gd name="connsiteY1" fmla="*/ 702748 h 702748"/>
              <a:gd name="connsiteX2" fmla="*/ 1226608 w 1591733"/>
              <a:gd name="connsiteY2" fmla="*/ 342656 h 702748"/>
              <a:gd name="connsiteX3" fmla="*/ 1591733 w 1591733"/>
              <a:gd name="connsiteY3" fmla="*/ 15 h 702748"/>
              <a:gd name="connsiteX0" fmla="*/ 0 w 1591733"/>
              <a:gd name="connsiteY0" fmla="*/ 703091 h 703091"/>
              <a:gd name="connsiteX1" fmla="*/ 1007533 w 1591733"/>
              <a:gd name="connsiteY1" fmla="*/ 703091 h 703091"/>
              <a:gd name="connsiteX2" fmla="*/ 1226608 w 1591733"/>
              <a:gd name="connsiteY2" fmla="*/ 342999 h 703091"/>
              <a:gd name="connsiteX3" fmla="*/ 1591733 w 1591733"/>
              <a:gd name="connsiteY3" fmla="*/ 358 h 703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1733" h="703091">
                <a:moveTo>
                  <a:pt x="0" y="703091"/>
                </a:moveTo>
                <a:lnTo>
                  <a:pt x="1007533" y="703091"/>
                </a:lnTo>
                <a:cubicBezTo>
                  <a:pt x="1143176" y="703115"/>
                  <a:pt x="1222903" y="700347"/>
                  <a:pt x="1226608" y="342999"/>
                </a:cubicBezTo>
                <a:cubicBezTo>
                  <a:pt x="1230313" y="-14349"/>
                  <a:pt x="1430337" y="-890"/>
                  <a:pt x="1591733" y="358"/>
                </a:cubicBezTo>
              </a:path>
            </a:pathLst>
          </a:cu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0" dirty="0"/>
          </a:p>
        </p:txBody>
      </p:sp>
      <p:sp>
        <p:nvSpPr>
          <p:cNvPr id="100" name="Freeform: Shape 99">
            <a:extLst>
              <a:ext uri="{FF2B5EF4-FFF2-40B4-BE49-F238E27FC236}">
                <a16:creationId xmlns:a16="http://schemas.microsoft.com/office/drawing/2014/main" id="{08AF25BC-8DB4-4899-B51B-F690A29BC779}"/>
              </a:ext>
            </a:extLst>
          </p:cNvPr>
          <p:cNvSpPr/>
          <p:nvPr/>
        </p:nvSpPr>
        <p:spPr>
          <a:xfrm flipV="1">
            <a:off x="2151282" y="3727824"/>
            <a:ext cx="2164062" cy="375385"/>
          </a:xfrm>
          <a:custGeom>
            <a:avLst/>
            <a:gdLst>
              <a:gd name="connsiteX0" fmla="*/ 0 w 1703671"/>
              <a:gd name="connsiteY0" fmla="*/ 0 h 375385"/>
              <a:gd name="connsiteX1" fmla="*/ 1703671 w 1703671"/>
              <a:gd name="connsiteY1" fmla="*/ 0 h 375385"/>
              <a:gd name="connsiteX2" fmla="*/ 1703671 w 1703671"/>
              <a:gd name="connsiteY2" fmla="*/ 375385 h 375385"/>
              <a:gd name="connsiteX0" fmla="*/ 0 w 1703671"/>
              <a:gd name="connsiteY0" fmla="*/ 0 h 375385"/>
              <a:gd name="connsiteX1" fmla="*/ 1458988 w 1703671"/>
              <a:gd name="connsiteY1" fmla="*/ 6216 h 375385"/>
              <a:gd name="connsiteX2" fmla="*/ 1703671 w 1703671"/>
              <a:gd name="connsiteY2" fmla="*/ 0 h 375385"/>
              <a:gd name="connsiteX3" fmla="*/ 1703671 w 1703671"/>
              <a:gd name="connsiteY3" fmla="*/ 375385 h 375385"/>
              <a:gd name="connsiteX0" fmla="*/ 0 w 1703671"/>
              <a:gd name="connsiteY0" fmla="*/ 4368 h 379753"/>
              <a:gd name="connsiteX1" fmla="*/ 1455654 w 1703671"/>
              <a:gd name="connsiteY1" fmla="*/ 0 h 379753"/>
              <a:gd name="connsiteX2" fmla="*/ 1703671 w 1703671"/>
              <a:gd name="connsiteY2" fmla="*/ 4368 h 379753"/>
              <a:gd name="connsiteX3" fmla="*/ 1703671 w 1703671"/>
              <a:gd name="connsiteY3" fmla="*/ 379753 h 379753"/>
              <a:gd name="connsiteX0" fmla="*/ 0 w 1703671"/>
              <a:gd name="connsiteY0" fmla="*/ 2251 h 377636"/>
              <a:gd name="connsiteX1" fmla="*/ 1452320 w 1703671"/>
              <a:gd name="connsiteY1" fmla="*/ 0 h 377636"/>
              <a:gd name="connsiteX2" fmla="*/ 1703671 w 1703671"/>
              <a:gd name="connsiteY2" fmla="*/ 2251 h 377636"/>
              <a:gd name="connsiteX3" fmla="*/ 1703671 w 1703671"/>
              <a:gd name="connsiteY3" fmla="*/ 377636 h 377636"/>
              <a:gd name="connsiteX0" fmla="*/ 0 w 1703671"/>
              <a:gd name="connsiteY0" fmla="*/ 0 h 375385"/>
              <a:gd name="connsiteX1" fmla="*/ 1453987 w 1703671"/>
              <a:gd name="connsiteY1" fmla="*/ 4099 h 375385"/>
              <a:gd name="connsiteX2" fmla="*/ 1703671 w 1703671"/>
              <a:gd name="connsiteY2" fmla="*/ 0 h 375385"/>
              <a:gd name="connsiteX3" fmla="*/ 1703671 w 1703671"/>
              <a:gd name="connsiteY3" fmla="*/ 375385 h 375385"/>
              <a:gd name="connsiteX0" fmla="*/ 0 w 1703671"/>
              <a:gd name="connsiteY0" fmla="*/ 0 h 375385"/>
              <a:gd name="connsiteX1" fmla="*/ 1447319 w 1703671"/>
              <a:gd name="connsiteY1" fmla="*/ 1982 h 375385"/>
              <a:gd name="connsiteX2" fmla="*/ 1703671 w 1703671"/>
              <a:gd name="connsiteY2" fmla="*/ 0 h 375385"/>
              <a:gd name="connsiteX3" fmla="*/ 1703671 w 1703671"/>
              <a:gd name="connsiteY3" fmla="*/ 375385 h 375385"/>
              <a:gd name="connsiteX0" fmla="*/ 0 w 1722659"/>
              <a:gd name="connsiteY0" fmla="*/ 27154 h 402539"/>
              <a:gd name="connsiteX1" fmla="*/ 1447319 w 1722659"/>
              <a:gd name="connsiteY1" fmla="*/ 29136 h 402539"/>
              <a:gd name="connsiteX2" fmla="*/ 1703671 w 1722659"/>
              <a:gd name="connsiteY2" fmla="*/ 27154 h 402539"/>
              <a:gd name="connsiteX3" fmla="*/ 1703671 w 1722659"/>
              <a:gd name="connsiteY3" fmla="*/ 402539 h 402539"/>
              <a:gd name="connsiteX0" fmla="*/ 0 w 1704214"/>
              <a:gd name="connsiteY0" fmla="*/ 0 h 375385"/>
              <a:gd name="connsiteX1" fmla="*/ 1447319 w 1704214"/>
              <a:gd name="connsiteY1" fmla="*/ 1982 h 375385"/>
              <a:gd name="connsiteX2" fmla="*/ 1668664 w 1704214"/>
              <a:gd name="connsiteY2" fmla="*/ 110066 h 375385"/>
              <a:gd name="connsiteX3" fmla="*/ 1703671 w 1704214"/>
              <a:gd name="connsiteY3" fmla="*/ 375385 h 375385"/>
              <a:gd name="connsiteX0" fmla="*/ 0 w 1703671"/>
              <a:gd name="connsiteY0" fmla="*/ 0 h 375385"/>
              <a:gd name="connsiteX1" fmla="*/ 1447319 w 1703671"/>
              <a:gd name="connsiteY1" fmla="*/ 1982 h 375385"/>
              <a:gd name="connsiteX2" fmla="*/ 1668664 w 1703671"/>
              <a:gd name="connsiteY2" fmla="*/ 110066 h 375385"/>
              <a:gd name="connsiteX3" fmla="*/ 1703671 w 1703671"/>
              <a:gd name="connsiteY3" fmla="*/ 375385 h 375385"/>
              <a:gd name="connsiteX0" fmla="*/ 0 w 1711033"/>
              <a:gd name="connsiteY0" fmla="*/ 0 h 375385"/>
              <a:gd name="connsiteX1" fmla="*/ 1447319 w 1711033"/>
              <a:gd name="connsiteY1" fmla="*/ 1982 h 375385"/>
              <a:gd name="connsiteX2" fmla="*/ 1692002 w 1711033"/>
              <a:gd name="connsiteY2" fmla="*/ 120649 h 375385"/>
              <a:gd name="connsiteX3" fmla="*/ 1703671 w 1711033"/>
              <a:gd name="connsiteY3" fmla="*/ 375385 h 375385"/>
              <a:gd name="connsiteX0" fmla="*/ 0 w 1703671"/>
              <a:gd name="connsiteY0" fmla="*/ 560 h 375945"/>
              <a:gd name="connsiteX1" fmla="*/ 1447319 w 1703671"/>
              <a:gd name="connsiteY1" fmla="*/ 2542 h 375945"/>
              <a:gd name="connsiteX2" fmla="*/ 1692002 w 1703671"/>
              <a:gd name="connsiteY2" fmla="*/ 121209 h 375945"/>
              <a:gd name="connsiteX3" fmla="*/ 1703671 w 1703671"/>
              <a:gd name="connsiteY3" fmla="*/ 375945 h 375945"/>
              <a:gd name="connsiteX0" fmla="*/ 0 w 1704613"/>
              <a:gd name="connsiteY0" fmla="*/ 151 h 375536"/>
              <a:gd name="connsiteX1" fmla="*/ 1447319 w 1704613"/>
              <a:gd name="connsiteY1" fmla="*/ 2133 h 375536"/>
              <a:gd name="connsiteX2" fmla="*/ 1703670 w 1704613"/>
              <a:gd name="connsiteY2" fmla="*/ 122916 h 375536"/>
              <a:gd name="connsiteX3" fmla="*/ 1703671 w 1704613"/>
              <a:gd name="connsiteY3" fmla="*/ 375536 h 375536"/>
              <a:gd name="connsiteX0" fmla="*/ 0 w 1704613"/>
              <a:gd name="connsiteY0" fmla="*/ 0 h 375385"/>
              <a:gd name="connsiteX1" fmla="*/ 1447319 w 1704613"/>
              <a:gd name="connsiteY1" fmla="*/ 1982 h 375385"/>
              <a:gd name="connsiteX2" fmla="*/ 1703670 w 1704613"/>
              <a:gd name="connsiteY2" fmla="*/ 122765 h 375385"/>
              <a:gd name="connsiteX3" fmla="*/ 1703671 w 1704613"/>
              <a:gd name="connsiteY3" fmla="*/ 375385 h 375385"/>
              <a:gd name="connsiteX0" fmla="*/ 0 w 1704613"/>
              <a:gd name="connsiteY0" fmla="*/ 0 h 375385"/>
              <a:gd name="connsiteX1" fmla="*/ 1447319 w 1704613"/>
              <a:gd name="connsiteY1" fmla="*/ 1982 h 375385"/>
              <a:gd name="connsiteX2" fmla="*/ 1703670 w 1704613"/>
              <a:gd name="connsiteY2" fmla="*/ 196849 h 375385"/>
              <a:gd name="connsiteX3" fmla="*/ 1703671 w 1704613"/>
              <a:gd name="connsiteY3" fmla="*/ 375385 h 375385"/>
              <a:gd name="connsiteX0" fmla="*/ 0 w 1704878"/>
              <a:gd name="connsiteY0" fmla="*/ 0 h 375385"/>
              <a:gd name="connsiteX1" fmla="*/ 1447319 w 1704878"/>
              <a:gd name="connsiteY1" fmla="*/ 1982 h 375385"/>
              <a:gd name="connsiteX2" fmla="*/ 1703670 w 1704878"/>
              <a:gd name="connsiteY2" fmla="*/ 196849 h 375385"/>
              <a:gd name="connsiteX3" fmla="*/ 1703671 w 1704878"/>
              <a:gd name="connsiteY3" fmla="*/ 375385 h 375385"/>
              <a:gd name="connsiteX0" fmla="*/ 0 w 1703675"/>
              <a:gd name="connsiteY0" fmla="*/ 0 h 375385"/>
              <a:gd name="connsiteX1" fmla="*/ 1447319 w 1703675"/>
              <a:gd name="connsiteY1" fmla="*/ 1982 h 375385"/>
              <a:gd name="connsiteX2" fmla="*/ 1701169 w 1703675"/>
              <a:gd name="connsiteY2" fmla="*/ 196849 h 375385"/>
              <a:gd name="connsiteX3" fmla="*/ 1703671 w 1703675"/>
              <a:gd name="connsiteY3" fmla="*/ 375385 h 375385"/>
              <a:gd name="connsiteX0" fmla="*/ 0 w 1704877"/>
              <a:gd name="connsiteY0" fmla="*/ 0 h 375385"/>
              <a:gd name="connsiteX1" fmla="*/ 1447319 w 1704877"/>
              <a:gd name="connsiteY1" fmla="*/ 1982 h 375385"/>
              <a:gd name="connsiteX2" fmla="*/ 1703669 w 1704877"/>
              <a:gd name="connsiteY2" fmla="*/ 195262 h 375385"/>
              <a:gd name="connsiteX3" fmla="*/ 1703671 w 1704877"/>
              <a:gd name="connsiteY3" fmla="*/ 375385 h 375385"/>
              <a:gd name="connsiteX0" fmla="*/ 0 w 1704065"/>
              <a:gd name="connsiteY0" fmla="*/ 0 h 375385"/>
              <a:gd name="connsiteX1" fmla="*/ 1447319 w 1704065"/>
              <a:gd name="connsiteY1" fmla="*/ 1982 h 375385"/>
              <a:gd name="connsiteX2" fmla="*/ 1702419 w 1704065"/>
              <a:gd name="connsiteY2" fmla="*/ 195262 h 375385"/>
              <a:gd name="connsiteX3" fmla="*/ 1703671 w 1704065"/>
              <a:gd name="connsiteY3" fmla="*/ 375385 h 375385"/>
              <a:gd name="connsiteX0" fmla="*/ 0 w 1704065"/>
              <a:gd name="connsiteY0" fmla="*/ 0 h 375385"/>
              <a:gd name="connsiteX1" fmla="*/ 1447319 w 1704065"/>
              <a:gd name="connsiteY1" fmla="*/ 1982 h 375385"/>
              <a:gd name="connsiteX2" fmla="*/ 1702419 w 1704065"/>
              <a:gd name="connsiteY2" fmla="*/ 211137 h 375385"/>
              <a:gd name="connsiteX3" fmla="*/ 1703671 w 1704065"/>
              <a:gd name="connsiteY3" fmla="*/ 375385 h 375385"/>
              <a:gd name="connsiteX0" fmla="*/ 0 w 1705870"/>
              <a:gd name="connsiteY0" fmla="*/ 0 h 375385"/>
              <a:gd name="connsiteX1" fmla="*/ 1447319 w 1705870"/>
              <a:gd name="connsiteY1" fmla="*/ 1982 h 375385"/>
              <a:gd name="connsiteX2" fmla="*/ 1704919 w 1705870"/>
              <a:gd name="connsiteY2" fmla="*/ 211137 h 375385"/>
              <a:gd name="connsiteX3" fmla="*/ 1703671 w 1705870"/>
              <a:gd name="connsiteY3" fmla="*/ 375385 h 375385"/>
              <a:gd name="connsiteX0" fmla="*/ 0 w 1704878"/>
              <a:gd name="connsiteY0" fmla="*/ 0 h 375385"/>
              <a:gd name="connsiteX1" fmla="*/ 1447319 w 1704878"/>
              <a:gd name="connsiteY1" fmla="*/ 1982 h 375385"/>
              <a:gd name="connsiteX2" fmla="*/ 1703670 w 1704878"/>
              <a:gd name="connsiteY2" fmla="*/ 211137 h 375385"/>
              <a:gd name="connsiteX3" fmla="*/ 1703671 w 1704878"/>
              <a:gd name="connsiteY3" fmla="*/ 375385 h 375385"/>
              <a:gd name="connsiteX0" fmla="*/ 0 w 1704322"/>
              <a:gd name="connsiteY0" fmla="*/ 0 h 375385"/>
              <a:gd name="connsiteX1" fmla="*/ 1447319 w 1704322"/>
              <a:gd name="connsiteY1" fmla="*/ 1982 h 375385"/>
              <a:gd name="connsiteX2" fmla="*/ 1703670 w 1704322"/>
              <a:gd name="connsiteY2" fmla="*/ 211137 h 375385"/>
              <a:gd name="connsiteX3" fmla="*/ 1703671 w 1704322"/>
              <a:gd name="connsiteY3" fmla="*/ 375385 h 375385"/>
              <a:gd name="connsiteX0" fmla="*/ 0 w 1704322"/>
              <a:gd name="connsiteY0" fmla="*/ 0 h 375385"/>
              <a:gd name="connsiteX1" fmla="*/ 1447319 w 1704322"/>
              <a:gd name="connsiteY1" fmla="*/ 1982 h 375385"/>
              <a:gd name="connsiteX2" fmla="*/ 1703670 w 1704322"/>
              <a:gd name="connsiteY2" fmla="*/ 270404 h 375385"/>
              <a:gd name="connsiteX3" fmla="*/ 1703671 w 1704322"/>
              <a:gd name="connsiteY3" fmla="*/ 375385 h 375385"/>
              <a:gd name="connsiteX0" fmla="*/ 0 w 1704322"/>
              <a:gd name="connsiteY0" fmla="*/ 0 h 375385"/>
              <a:gd name="connsiteX1" fmla="*/ 1447319 w 1704322"/>
              <a:gd name="connsiteY1" fmla="*/ 1982 h 375385"/>
              <a:gd name="connsiteX2" fmla="*/ 1703670 w 1704322"/>
              <a:gd name="connsiteY2" fmla="*/ 270404 h 375385"/>
              <a:gd name="connsiteX3" fmla="*/ 1703671 w 1704322"/>
              <a:gd name="connsiteY3" fmla="*/ 375385 h 375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4322" h="375385">
                <a:moveTo>
                  <a:pt x="0" y="0"/>
                </a:moveTo>
                <a:lnTo>
                  <a:pt x="1447319" y="1982"/>
                </a:lnTo>
                <a:cubicBezTo>
                  <a:pt x="1649581" y="4099"/>
                  <a:pt x="1702202" y="121387"/>
                  <a:pt x="1703670" y="270404"/>
                </a:cubicBezTo>
                <a:cubicBezTo>
                  <a:pt x="1705138" y="419421"/>
                  <a:pt x="1703671" y="250257"/>
                  <a:pt x="1703671" y="375385"/>
                </a:cubicBezTo>
              </a:path>
            </a:pathLst>
          </a:custGeom>
          <a:noFill/>
          <a:ln w="190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0" dirty="0"/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7BC08B45-2F14-49C2-9BAC-2B2046B44838}"/>
              </a:ext>
            </a:extLst>
          </p:cNvPr>
          <p:cNvCxnSpPr>
            <a:cxnSpLocks/>
          </p:cNvCxnSpPr>
          <p:nvPr/>
        </p:nvCxnSpPr>
        <p:spPr>
          <a:xfrm>
            <a:off x="2151284" y="2740647"/>
            <a:ext cx="1517889" cy="0"/>
          </a:xfrm>
          <a:prstGeom prst="line">
            <a:avLst/>
          </a:prstGeom>
          <a:ln w="19050">
            <a:solidFill>
              <a:schemeClr val="accent2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FDB52DE0-694C-4FF5-BC87-04ECD1D4471F}"/>
              </a:ext>
            </a:extLst>
          </p:cNvPr>
          <p:cNvCxnSpPr>
            <a:cxnSpLocks/>
          </p:cNvCxnSpPr>
          <p:nvPr/>
        </p:nvCxnSpPr>
        <p:spPr>
          <a:xfrm>
            <a:off x="2151284" y="2856553"/>
            <a:ext cx="1559543" cy="0"/>
          </a:xfrm>
          <a:prstGeom prst="line">
            <a:avLst/>
          </a:prstGeom>
          <a:ln w="19050">
            <a:solidFill>
              <a:schemeClr val="accent2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7EE31240-5CC1-4B22-875F-7C9998BF800E}"/>
              </a:ext>
            </a:extLst>
          </p:cNvPr>
          <p:cNvCxnSpPr>
            <a:cxnSpLocks/>
          </p:cNvCxnSpPr>
          <p:nvPr/>
        </p:nvCxnSpPr>
        <p:spPr>
          <a:xfrm>
            <a:off x="2151284" y="2972459"/>
            <a:ext cx="1517889" cy="0"/>
          </a:xfrm>
          <a:prstGeom prst="line">
            <a:avLst/>
          </a:prstGeom>
          <a:ln w="19050">
            <a:solidFill>
              <a:schemeClr val="accent4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FDF301EC-D7D0-4694-B547-2DCC43FB9031}"/>
              </a:ext>
            </a:extLst>
          </p:cNvPr>
          <p:cNvCxnSpPr>
            <a:cxnSpLocks/>
          </p:cNvCxnSpPr>
          <p:nvPr/>
        </p:nvCxnSpPr>
        <p:spPr>
          <a:xfrm>
            <a:off x="2151284" y="3088365"/>
            <a:ext cx="1333600" cy="0"/>
          </a:xfrm>
          <a:prstGeom prst="line">
            <a:avLst/>
          </a:prstGeom>
          <a:ln w="19050">
            <a:solidFill>
              <a:schemeClr val="accent4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C78069C2-11A9-4077-B275-FEB3CD20C6F6}"/>
              </a:ext>
            </a:extLst>
          </p:cNvPr>
          <p:cNvCxnSpPr>
            <a:cxnSpLocks/>
          </p:cNvCxnSpPr>
          <p:nvPr/>
        </p:nvCxnSpPr>
        <p:spPr>
          <a:xfrm>
            <a:off x="2151284" y="3204271"/>
            <a:ext cx="1169508" cy="0"/>
          </a:xfrm>
          <a:prstGeom prst="line">
            <a:avLst/>
          </a:prstGeom>
          <a:ln w="19050">
            <a:solidFill>
              <a:schemeClr val="accent2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9E1011A1-56F6-4E25-A257-A974CE73BF5D}"/>
              </a:ext>
            </a:extLst>
          </p:cNvPr>
          <p:cNvCxnSpPr>
            <a:cxnSpLocks/>
          </p:cNvCxnSpPr>
          <p:nvPr/>
        </p:nvCxnSpPr>
        <p:spPr>
          <a:xfrm>
            <a:off x="2151284" y="3320177"/>
            <a:ext cx="1613141" cy="0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9ABB7884-154B-42A2-AD56-32F8220503CF}"/>
              </a:ext>
            </a:extLst>
          </p:cNvPr>
          <p:cNvCxnSpPr>
            <a:cxnSpLocks/>
          </p:cNvCxnSpPr>
          <p:nvPr/>
        </p:nvCxnSpPr>
        <p:spPr>
          <a:xfrm>
            <a:off x="2151283" y="4009603"/>
            <a:ext cx="1243659" cy="0"/>
          </a:xfrm>
          <a:prstGeom prst="line">
            <a:avLst/>
          </a:prstGeom>
          <a:ln w="19050">
            <a:solidFill>
              <a:schemeClr val="accent2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7C724E64-FA11-4AB1-9F14-8DF73B61ED4B}"/>
              </a:ext>
            </a:extLst>
          </p:cNvPr>
          <p:cNvCxnSpPr>
            <a:cxnSpLocks/>
          </p:cNvCxnSpPr>
          <p:nvPr/>
        </p:nvCxnSpPr>
        <p:spPr>
          <a:xfrm>
            <a:off x="2151283" y="3551989"/>
            <a:ext cx="1381590" cy="0"/>
          </a:xfrm>
          <a:prstGeom prst="line">
            <a:avLst/>
          </a:prstGeom>
          <a:ln w="19050">
            <a:solidFill>
              <a:schemeClr val="accent2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3DA238C3-7871-4E1A-9D4B-16EAAC53E3F3}"/>
              </a:ext>
            </a:extLst>
          </p:cNvPr>
          <p:cNvCxnSpPr>
            <a:cxnSpLocks/>
          </p:cNvCxnSpPr>
          <p:nvPr/>
        </p:nvCxnSpPr>
        <p:spPr>
          <a:xfrm>
            <a:off x="2151283" y="3667894"/>
            <a:ext cx="1146734" cy="0"/>
          </a:xfrm>
          <a:prstGeom prst="line">
            <a:avLst/>
          </a:prstGeom>
          <a:ln w="19050">
            <a:solidFill>
              <a:schemeClr val="accent4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498217E4-1B84-4843-A936-B95B90989844}"/>
              </a:ext>
            </a:extLst>
          </p:cNvPr>
          <p:cNvCxnSpPr>
            <a:cxnSpLocks/>
          </p:cNvCxnSpPr>
          <p:nvPr/>
        </p:nvCxnSpPr>
        <p:spPr>
          <a:xfrm>
            <a:off x="2151283" y="3436083"/>
            <a:ext cx="1575439" cy="0"/>
          </a:xfrm>
          <a:prstGeom prst="line">
            <a:avLst/>
          </a:prstGeom>
          <a:ln w="19050">
            <a:solidFill>
              <a:schemeClr val="accent4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2EDF4F47-C230-41E6-A833-A7975F7806DF}"/>
              </a:ext>
            </a:extLst>
          </p:cNvPr>
          <p:cNvCxnSpPr>
            <a:cxnSpLocks/>
          </p:cNvCxnSpPr>
          <p:nvPr/>
        </p:nvCxnSpPr>
        <p:spPr>
          <a:xfrm>
            <a:off x="2151283" y="3825123"/>
            <a:ext cx="1491562" cy="0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45C426DD-DC34-43E6-AF26-7AAD7AE631A1}"/>
              </a:ext>
            </a:extLst>
          </p:cNvPr>
          <p:cNvGrpSpPr/>
          <p:nvPr/>
        </p:nvGrpSpPr>
        <p:grpSpPr>
          <a:xfrm>
            <a:off x="3895704" y="1070543"/>
            <a:ext cx="781870" cy="781870"/>
            <a:chOff x="3895704" y="1687087"/>
            <a:chExt cx="781870" cy="781870"/>
          </a:xfrm>
        </p:grpSpPr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546A16DF-8427-436A-A8B0-4AF9EB5F0840}"/>
                </a:ext>
              </a:extLst>
            </p:cNvPr>
            <p:cNvGrpSpPr/>
            <p:nvPr/>
          </p:nvGrpSpPr>
          <p:grpSpPr>
            <a:xfrm>
              <a:off x="3895704" y="1687087"/>
              <a:ext cx="781870" cy="781870"/>
              <a:chOff x="-1770711" y="2071824"/>
              <a:chExt cx="1671526" cy="1671527"/>
            </a:xfrm>
          </p:grpSpPr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EA7B0AF0-9985-4FB2-8D59-DA86E462F970}"/>
                  </a:ext>
                </a:extLst>
              </p:cNvPr>
              <p:cNvSpPr/>
              <p:nvPr/>
            </p:nvSpPr>
            <p:spPr>
              <a:xfrm>
                <a:off x="-1770711" y="2071824"/>
                <a:ext cx="1671526" cy="1671526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B83825AA-7B64-40F1-B8B6-F13AC472F6AB}"/>
                  </a:ext>
                </a:extLst>
              </p:cNvPr>
              <p:cNvSpPr/>
              <p:nvPr/>
            </p:nvSpPr>
            <p:spPr>
              <a:xfrm>
                <a:off x="-1760725" y="2317026"/>
                <a:ext cx="1651557" cy="1426325"/>
              </a:xfrm>
              <a:custGeom>
                <a:avLst/>
                <a:gdLst>
                  <a:gd name="connsiteX0" fmla="*/ 825778 w 1651557"/>
                  <a:gd name="connsiteY0" fmla="*/ 0 h 1426325"/>
                  <a:gd name="connsiteX1" fmla="*/ 1644561 w 1651557"/>
                  <a:gd name="connsiteY1" fmla="*/ 667328 h 1426325"/>
                  <a:gd name="connsiteX2" fmla="*/ 1651557 w 1651557"/>
                  <a:gd name="connsiteY2" fmla="*/ 713163 h 1426325"/>
                  <a:gd name="connsiteX3" fmla="*/ 1644561 w 1651557"/>
                  <a:gd name="connsiteY3" fmla="*/ 758998 h 1426325"/>
                  <a:gd name="connsiteX4" fmla="*/ 825778 w 1651557"/>
                  <a:gd name="connsiteY4" fmla="*/ 1426325 h 1426325"/>
                  <a:gd name="connsiteX5" fmla="*/ 6995 w 1651557"/>
                  <a:gd name="connsiteY5" fmla="*/ 758998 h 1426325"/>
                  <a:gd name="connsiteX6" fmla="*/ 0 w 1651557"/>
                  <a:gd name="connsiteY6" fmla="*/ 713163 h 1426325"/>
                  <a:gd name="connsiteX7" fmla="*/ 6995 w 1651557"/>
                  <a:gd name="connsiteY7" fmla="*/ 667328 h 1426325"/>
                  <a:gd name="connsiteX8" fmla="*/ 825778 w 1651557"/>
                  <a:gd name="connsiteY8" fmla="*/ 0 h 1426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51557" h="1426325">
                    <a:moveTo>
                      <a:pt x="825778" y="0"/>
                    </a:moveTo>
                    <a:cubicBezTo>
                      <a:pt x="1229660" y="0"/>
                      <a:pt x="1566629" y="286485"/>
                      <a:pt x="1644561" y="667328"/>
                    </a:cubicBezTo>
                    <a:lnTo>
                      <a:pt x="1651557" y="713163"/>
                    </a:lnTo>
                    <a:lnTo>
                      <a:pt x="1644561" y="758998"/>
                    </a:lnTo>
                    <a:cubicBezTo>
                      <a:pt x="1566629" y="1139840"/>
                      <a:pt x="1229660" y="1426325"/>
                      <a:pt x="825778" y="1426325"/>
                    </a:cubicBezTo>
                    <a:cubicBezTo>
                      <a:pt x="421896" y="1426325"/>
                      <a:pt x="84927" y="1139840"/>
                      <a:pt x="6995" y="758998"/>
                    </a:cubicBezTo>
                    <a:lnTo>
                      <a:pt x="0" y="713163"/>
                    </a:lnTo>
                    <a:lnTo>
                      <a:pt x="6995" y="667328"/>
                    </a:lnTo>
                    <a:cubicBezTo>
                      <a:pt x="84927" y="286485"/>
                      <a:pt x="421896" y="0"/>
                      <a:pt x="825778" y="0"/>
                    </a:cubicBez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0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109" name="Graphic 108">
              <a:extLst>
                <a:ext uri="{FF2B5EF4-FFF2-40B4-BE49-F238E27FC236}">
                  <a16:creationId xmlns:a16="http://schemas.microsoft.com/office/drawing/2014/main" id="{B74E7C2C-B214-4C3C-B7DF-F41412083A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074332" y="1910105"/>
              <a:ext cx="424614" cy="424614"/>
            </a:xfrm>
            <a:prstGeom prst="rect">
              <a:avLst/>
            </a:prstGeom>
          </p:spPr>
        </p:pic>
      </p:grpSp>
      <p:grpSp>
        <p:nvGrpSpPr>
          <p:cNvPr id="8" name="Group 7"/>
          <p:cNvGrpSpPr/>
          <p:nvPr/>
        </p:nvGrpSpPr>
        <p:grpSpPr>
          <a:xfrm>
            <a:off x="129730" y="2103436"/>
            <a:ext cx="11509049" cy="784830"/>
            <a:chOff x="129730" y="2155710"/>
            <a:chExt cx="11509049" cy="784830"/>
          </a:xfrm>
        </p:grpSpPr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D1DD03E0-914E-4EB1-A261-244B5270A6A2}"/>
                </a:ext>
              </a:extLst>
            </p:cNvPr>
            <p:cNvSpPr txBox="1">
              <a:spLocks/>
            </p:cNvSpPr>
            <p:nvPr/>
          </p:nvSpPr>
          <p:spPr>
            <a:xfrm>
              <a:off x="4873962" y="2155710"/>
              <a:ext cx="2529157" cy="78483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1700" b="1" dirty="0">
                  <a:solidFill>
                    <a:schemeClr val="accent2"/>
                  </a:solidFill>
                </a:rPr>
                <a:t>Level playing field, protect citizen data </a:t>
              </a:r>
              <a:br>
                <a:rPr lang="en-US" sz="1700" b="1" dirty="0">
                  <a:solidFill>
                    <a:schemeClr val="accent2"/>
                  </a:solidFill>
                </a:rPr>
              </a:br>
              <a:r>
                <a:rPr lang="en-US" sz="1700" b="1" dirty="0">
                  <a:solidFill>
                    <a:schemeClr val="accent2"/>
                  </a:solidFill>
                </a:rPr>
                <a:t>and connect data pools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06F73245-A1BC-4644-B25F-85AD9D783E94}"/>
                </a:ext>
              </a:extLst>
            </p:cNvPr>
            <p:cNvSpPr txBox="1">
              <a:spLocks/>
            </p:cNvSpPr>
            <p:nvPr/>
          </p:nvSpPr>
          <p:spPr>
            <a:xfrm>
              <a:off x="129730" y="2155710"/>
              <a:ext cx="1805630" cy="52322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1700" b="1" dirty="0">
                  <a:solidFill>
                    <a:schemeClr val="accent2"/>
                  </a:solidFill>
                </a:rPr>
                <a:t>Rethink data </a:t>
              </a:r>
              <a:br>
                <a:rPr lang="en-US" sz="1700" b="1" dirty="0">
                  <a:solidFill>
                    <a:schemeClr val="accent2"/>
                  </a:solidFill>
                </a:rPr>
              </a:br>
              <a:r>
                <a:rPr lang="en-US" sz="1700" b="1" dirty="0">
                  <a:solidFill>
                    <a:schemeClr val="accent2"/>
                  </a:solidFill>
                </a:rPr>
                <a:t>and user access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603B3568-2EC4-4AC9-B0E9-AA4662BE9A49}"/>
                </a:ext>
              </a:extLst>
            </p:cNvPr>
            <p:cNvSpPr txBox="1">
              <a:spLocks/>
            </p:cNvSpPr>
            <p:nvPr/>
          </p:nvSpPr>
          <p:spPr>
            <a:xfrm>
              <a:off x="7607260" y="2155710"/>
              <a:ext cx="4031519" cy="78483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/>
              <a:r>
                <a:rPr lang="en-US" sz="1700" dirty="0"/>
                <a:t>Open government (and private) data and APIs</a:t>
              </a:r>
            </a:p>
            <a:p>
              <a:pPr lvl="1"/>
              <a:r>
                <a:rPr lang="en-US" sz="1700" dirty="0"/>
                <a:t>Cross-industry platform Verimi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158759" y="1110040"/>
            <a:ext cx="11570881" cy="789413"/>
            <a:chOff x="158759" y="1110040"/>
            <a:chExt cx="11570881" cy="789413"/>
          </a:xfrm>
        </p:grpSpPr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A06909F4-9FEE-40B3-969C-574DFC16C90D}"/>
                </a:ext>
              </a:extLst>
            </p:cNvPr>
            <p:cNvSpPr txBox="1">
              <a:spLocks/>
            </p:cNvSpPr>
            <p:nvPr/>
          </p:nvSpPr>
          <p:spPr>
            <a:xfrm>
              <a:off x="4873962" y="1110040"/>
              <a:ext cx="2529157" cy="78483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1700" b="1" dirty="0">
                  <a:solidFill>
                    <a:schemeClr val="tx2"/>
                  </a:solidFill>
                </a:rPr>
                <a:t>Innovate in ecosystems around Europe’s superstars</a:t>
              </a:r>
              <a:endParaRPr lang="en-US" sz="1700" dirty="0">
                <a:solidFill>
                  <a:schemeClr val="accent6"/>
                </a:solidFill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B53CC74F-A102-4C4A-AD9A-B77BA0464EB6}"/>
                </a:ext>
              </a:extLst>
            </p:cNvPr>
            <p:cNvSpPr txBox="1">
              <a:spLocks/>
            </p:cNvSpPr>
            <p:nvPr/>
          </p:nvSpPr>
          <p:spPr>
            <a:xfrm>
              <a:off x="158759" y="1125429"/>
              <a:ext cx="1805630" cy="52322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1700" b="1" dirty="0">
                  <a:solidFill>
                    <a:schemeClr val="tx2"/>
                  </a:solidFill>
                </a:rPr>
                <a:t>Play industrial strengths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B8727EEF-7857-43A7-8F57-466E6B3C31C6}"/>
                </a:ext>
              </a:extLst>
            </p:cNvPr>
            <p:cNvSpPr txBox="1">
              <a:spLocks/>
            </p:cNvSpPr>
            <p:nvPr/>
          </p:nvSpPr>
          <p:spPr>
            <a:xfrm>
              <a:off x="7619131" y="1114623"/>
              <a:ext cx="4110509" cy="78483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/>
              <a:r>
                <a:rPr lang="en-US" sz="1700" dirty="0"/>
                <a:t>European Automotive-Telecom Alliance</a:t>
              </a:r>
            </a:p>
            <a:p>
              <a:pPr lvl="1"/>
              <a:r>
                <a:rPr lang="en-US" sz="1700" dirty="0"/>
                <a:t>United Kingdom´s FinTech sandbox</a:t>
              </a:r>
            </a:p>
            <a:p>
              <a:pPr lvl="1"/>
              <a:r>
                <a:rPr lang="en-US" sz="1700" dirty="0"/>
                <a:t>Completing the non-digital single market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158759" y="3096832"/>
            <a:ext cx="11513233" cy="784830"/>
            <a:chOff x="158759" y="3534570"/>
            <a:chExt cx="11513233" cy="784830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84051614-818C-473B-A02B-BDB766CADA42}"/>
                </a:ext>
              </a:extLst>
            </p:cNvPr>
            <p:cNvSpPr txBox="1">
              <a:spLocks/>
            </p:cNvSpPr>
            <p:nvPr/>
          </p:nvSpPr>
          <p:spPr>
            <a:xfrm>
              <a:off x="4873962" y="3534570"/>
              <a:ext cx="2529157" cy="78483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700" b="1" baseline="0">
                  <a:solidFill>
                    <a:schemeClr val="accent2">
                      <a:lumMod val="75000"/>
                    </a:schemeClr>
                  </a:solidFill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dirty="0"/>
                <a:t>Leverage Europe's substantial public sector footprint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098F4939-0A57-49A6-ACC1-68B64937E63B}"/>
                </a:ext>
              </a:extLst>
            </p:cNvPr>
            <p:cNvSpPr txBox="1">
              <a:spLocks/>
            </p:cNvSpPr>
            <p:nvPr/>
          </p:nvSpPr>
          <p:spPr>
            <a:xfrm>
              <a:off x="158759" y="3534570"/>
              <a:ext cx="1805630" cy="52322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700" b="1" baseline="0">
                  <a:solidFill>
                    <a:schemeClr val="accent2">
                      <a:lumMod val="75000"/>
                    </a:schemeClr>
                  </a:solidFill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dirty="0"/>
                <a:t>Create demand at scale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5CF8184C-4A91-42C4-B773-DF34369B2F4B}"/>
                </a:ext>
              </a:extLst>
            </p:cNvPr>
            <p:cNvSpPr txBox="1">
              <a:spLocks/>
            </p:cNvSpPr>
            <p:nvPr/>
          </p:nvSpPr>
          <p:spPr>
            <a:xfrm>
              <a:off x="7640473" y="3534570"/>
              <a:ext cx="4031519" cy="78483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700"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/>
              <a:r>
                <a:rPr lang="en-US" dirty="0" err="1"/>
                <a:t>eEstonia</a:t>
              </a:r>
              <a:endParaRPr lang="en-US" dirty="0"/>
            </a:p>
            <a:p>
              <a:pPr lvl="1"/>
              <a:r>
                <a:rPr lang="en-US" dirty="0"/>
                <a:t>Requirement to use BIM in public works</a:t>
              </a:r>
            </a:p>
            <a:p>
              <a:pPr lvl="1"/>
              <a:r>
                <a:rPr lang="en-US" dirty="0"/>
                <a:t>Innovation scale-up fund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58759" y="4090228"/>
            <a:ext cx="11542057" cy="1046440"/>
            <a:chOff x="158759" y="4523852"/>
            <a:chExt cx="11542057" cy="1046440"/>
          </a:xfrm>
        </p:grpSpPr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C3A3C75-A6AB-4833-B0AF-9B21B6C5E397}"/>
                </a:ext>
              </a:extLst>
            </p:cNvPr>
            <p:cNvSpPr txBox="1">
              <a:spLocks/>
            </p:cNvSpPr>
            <p:nvPr/>
          </p:nvSpPr>
          <p:spPr>
            <a:xfrm>
              <a:off x="158759" y="4523852"/>
              <a:ext cx="1805630" cy="78483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1700" b="1" dirty="0"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Alter high-skill immigration flows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BAC2D4F3-9789-47D2-BCF9-D835ACEF30D1}"/>
                </a:ext>
              </a:extLst>
            </p:cNvPr>
            <p:cNvSpPr txBox="1">
              <a:spLocks/>
            </p:cNvSpPr>
            <p:nvPr/>
          </p:nvSpPr>
          <p:spPr>
            <a:xfrm>
              <a:off x="4873962" y="4523852"/>
              <a:ext cx="2529157" cy="104644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700" b="1" baseline="0">
                  <a:solidFill>
                    <a:schemeClr val="accent2">
                      <a:lumMod val="75000"/>
                    </a:schemeClr>
                  </a:solidFill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dirty="0"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Encourage return of Europeans that work abroad and attract international talent</a:t>
              </a: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F347CE59-C617-4958-AEE6-676E542BDCED}"/>
                </a:ext>
              </a:extLst>
            </p:cNvPr>
            <p:cNvSpPr txBox="1">
              <a:spLocks/>
            </p:cNvSpPr>
            <p:nvPr/>
          </p:nvSpPr>
          <p:spPr>
            <a:xfrm>
              <a:off x="7669297" y="4523852"/>
              <a:ext cx="4031519" cy="52322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700"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/>
              <a:r>
                <a:rPr lang="en-GB" dirty="0"/>
                <a:t>EURES, portal for job mobility</a:t>
              </a:r>
            </a:p>
            <a:p>
              <a:pPr lvl="1"/>
              <a:r>
                <a:rPr lang="en-GB" dirty="0"/>
                <a:t>Taxation on stock options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57606" y="5345231"/>
            <a:ext cx="11572034" cy="1046440"/>
            <a:chOff x="157606" y="5587991"/>
            <a:chExt cx="11572034" cy="1046440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9DFE6C8E-BB8A-4324-B230-005A76B1E321}"/>
                </a:ext>
              </a:extLst>
            </p:cNvPr>
            <p:cNvSpPr txBox="1">
              <a:spLocks/>
            </p:cNvSpPr>
            <p:nvPr/>
          </p:nvSpPr>
          <p:spPr>
            <a:xfrm>
              <a:off x="157606" y="5587991"/>
              <a:ext cx="1805630" cy="52322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1700" b="1" dirty="0">
                  <a:solidFill>
                    <a:schemeClr val="accent3">
                      <a:lumMod val="60000"/>
                      <a:lumOff val="40000"/>
                    </a:schemeClr>
                  </a:solidFill>
                </a:rPr>
                <a:t>Leverage scale of global firms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1295FBA7-95F9-4A5D-97BB-78E5F6CB1FF7}"/>
                </a:ext>
              </a:extLst>
            </p:cNvPr>
            <p:cNvSpPr txBox="1">
              <a:spLocks/>
            </p:cNvSpPr>
            <p:nvPr/>
          </p:nvSpPr>
          <p:spPr>
            <a:xfrm>
              <a:off x="4873962" y="5587991"/>
              <a:ext cx="2529157" cy="104644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700" b="1" baseline="0">
                  <a:solidFill>
                    <a:schemeClr val="accent3">
                      <a:lumMod val="60000"/>
                      <a:lumOff val="40000"/>
                    </a:schemeClr>
                  </a:solidFill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dirty="0"/>
                <a:t>Derive as much value and benefits from non-European large firms </a:t>
              </a:r>
              <a:br>
                <a:rPr lang="en-US" dirty="0"/>
              </a:br>
              <a:r>
                <a:rPr lang="en-US" dirty="0"/>
                <a:t>as possible</a:t>
              </a: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4E7A06AA-94B3-47C7-B89C-F6C8DAF639B1}"/>
                </a:ext>
              </a:extLst>
            </p:cNvPr>
            <p:cNvSpPr txBox="1">
              <a:spLocks/>
            </p:cNvSpPr>
            <p:nvPr/>
          </p:nvSpPr>
          <p:spPr>
            <a:xfrm>
              <a:off x="7698121" y="5587991"/>
              <a:ext cx="4031519" cy="26161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700"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/>
              <a:r>
                <a:rPr lang="en-GB" dirty="0"/>
                <a:t>Google Campus in Warsaw and Madrid</a:t>
              </a:r>
              <a:endParaRPr lang="en-US" dirty="0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890256" y="1999153"/>
            <a:ext cx="6761993" cy="3241798"/>
            <a:chOff x="4890257" y="1999153"/>
            <a:chExt cx="6726436" cy="3241798"/>
          </a:xfrm>
        </p:grpSpPr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A24EE2D0-0615-410A-9AAD-226E1010B640}"/>
                </a:ext>
              </a:extLst>
            </p:cNvPr>
            <p:cNvCxnSpPr>
              <a:cxnSpLocks/>
            </p:cNvCxnSpPr>
            <p:nvPr/>
          </p:nvCxnSpPr>
          <p:spPr>
            <a:xfrm>
              <a:off x="4890257" y="1999153"/>
              <a:ext cx="6726436" cy="0"/>
            </a:xfrm>
            <a:prstGeom prst="line">
              <a:avLst/>
            </a:prstGeom>
            <a:ln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09C722AC-C114-4F1E-9E63-702EEF63CF4C}"/>
                </a:ext>
              </a:extLst>
            </p:cNvPr>
            <p:cNvCxnSpPr>
              <a:cxnSpLocks/>
            </p:cNvCxnSpPr>
            <p:nvPr/>
          </p:nvCxnSpPr>
          <p:spPr>
            <a:xfrm>
              <a:off x="4890257" y="2992549"/>
              <a:ext cx="6726436" cy="0"/>
            </a:xfrm>
            <a:prstGeom prst="line">
              <a:avLst/>
            </a:prstGeom>
            <a:ln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A737E1C2-BC01-4E07-B10F-9A1CC4D51440}"/>
                </a:ext>
              </a:extLst>
            </p:cNvPr>
            <p:cNvCxnSpPr>
              <a:cxnSpLocks/>
            </p:cNvCxnSpPr>
            <p:nvPr/>
          </p:nvCxnSpPr>
          <p:spPr>
            <a:xfrm>
              <a:off x="4890257" y="3985945"/>
              <a:ext cx="6726436" cy="0"/>
            </a:xfrm>
            <a:prstGeom prst="line">
              <a:avLst/>
            </a:prstGeom>
            <a:ln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CDD2DDAE-3FD1-45D4-972C-E3AA355F379A}"/>
                </a:ext>
              </a:extLst>
            </p:cNvPr>
            <p:cNvCxnSpPr>
              <a:cxnSpLocks/>
            </p:cNvCxnSpPr>
            <p:nvPr/>
          </p:nvCxnSpPr>
          <p:spPr>
            <a:xfrm>
              <a:off x="4890257" y="5240951"/>
              <a:ext cx="6726436" cy="0"/>
            </a:xfrm>
            <a:prstGeom prst="line">
              <a:avLst/>
            </a:prstGeom>
            <a:ln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788E14B0-E5A7-4F6F-A4EF-3E2DC0E44D77}"/>
              </a:ext>
            </a:extLst>
          </p:cNvPr>
          <p:cNvGrpSpPr/>
          <p:nvPr/>
        </p:nvGrpSpPr>
        <p:grpSpPr>
          <a:xfrm>
            <a:off x="3895704" y="2082477"/>
            <a:ext cx="781870" cy="781870"/>
            <a:chOff x="4350511" y="3455676"/>
            <a:chExt cx="781870" cy="781870"/>
          </a:xfrm>
        </p:grpSpPr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6B307D11-7D1B-4E55-B2C0-43F921710FB9}"/>
                </a:ext>
              </a:extLst>
            </p:cNvPr>
            <p:cNvGrpSpPr/>
            <p:nvPr/>
          </p:nvGrpSpPr>
          <p:grpSpPr>
            <a:xfrm>
              <a:off x="4350511" y="3455676"/>
              <a:ext cx="781870" cy="781870"/>
              <a:chOff x="-1770711" y="2878063"/>
              <a:chExt cx="1671526" cy="1671527"/>
            </a:xfrm>
          </p:grpSpPr>
          <p:sp>
            <p:nvSpPr>
              <p:cNvPr id="142" name="Oval 141">
                <a:extLst>
                  <a:ext uri="{FF2B5EF4-FFF2-40B4-BE49-F238E27FC236}">
                    <a16:creationId xmlns:a16="http://schemas.microsoft.com/office/drawing/2014/main" id="{0787AC21-23A8-4C6C-8BD9-527D0727D760}"/>
                  </a:ext>
                </a:extLst>
              </p:cNvPr>
              <p:cNvSpPr/>
              <p:nvPr/>
            </p:nvSpPr>
            <p:spPr>
              <a:xfrm>
                <a:off x="-1770711" y="2878063"/>
                <a:ext cx="1671526" cy="1671526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F28BEB4A-6963-42E1-8229-1D9CED83DF1A}"/>
                  </a:ext>
                </a:extLst>
              </p:cNvPr>
              <p:cNvSpPr/>
              <p:nvPr/>
            </p:nvSpPr>
            <p:spPr>
              <a:xfrm>
                <a:off x="-1760725" y="3123265"/>
                <a:ext cx="1651557" cy="1426325"/>
              </a:xfrm>
              <a:custGeom>
                <a:avLst/>
                <a:gdLst>
                  <a:gd name="connsiteX0" fmla="*/ 825778 w 1651557"/>
                  <a:gd name="connsiteY0" fmla="*/ 0 h 1426325"/>
                  <a:gd name="connsiteX1" fmla="*/ 1644561 w 1651557"/>
                  <a:gd name="connsiteY1" fmla="*/ 667328 h 1426325"/>
                  <a:gd name="connsiteX2" fmla="*/ 1651557 w 1651557"/>
                  <a:gd name="connsiteY2" fmla="*/ 713163 h 1426325"/>
                  <a:gd name="connsiteX3" fmla="*/ 1644561 w 1651557"/>
                  <a:gd name="connsiteY3" fmla="*/ 758998 h 1426325"/>
                  <a:gd name="connsiteX4" fmla="*/ 825778 w 1651557"/>
                  <a:gd name="connsiteY4" fmla="*/ 1426325 h 1426325"/>
                  <a:gd name="connsiteX5" fmla="*/ 6995 w 1651557"/>
                  <a:gd name="connsiteY5" fmla="*/ 758998 h 1426325"/>
                  <a:gd name="connsiteX6" fmla="*/ 0 w 1651557"/>
                  <a:gd name="connsiteY6" fmla="*/ 713163 h 1426325"/>
                  <a:gd name="connsiteX7" fmla="*/ 6995 w 1651557"/>
                  <a:gd name="connsiteY7" fmla="*/ 667328 h 1426325"/>
                  <a:gd name="connsiteX8" fmla="*/ 825778 w 1651557"/>
                  <a:gd name="connsiteY8" fmla="*/ 0 h 1426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51557" h="1426325">
                    <a:moveTo>
                      <a:pt x="825778" y="0"/>
                    </a:moveTo>
                    <a:cubicBezTo>
                      <a:pt x="1229660" y="0"/>
                      <a:pt x="1566629" y="286485"/>
                      <a:pt x="1644561" y="667328"/>
                    </a:cubicBezTo>
                    <a:lnTo>
                      <a:pt x="1651557" y="713163"/>
                    </a:lnTo>
                    <a:lnTo>
                      <a:pt x="1644561" y="758998"/>
                    </a:lnTo>
                    <a:cubicBezTo>
                      <a:pt x="1566629" y="1139840"/>
                      <a:pt x="1229660" y="1426325"/>
                      <a:pt x="825778" y="1426325"/>
                    </a:cubicBezTo>
                    <a:cubicBezTo>
                      <a:pt x="421896" y="1426325"/>
                      <a:pt x="84927" y="1139840"/>
                      <a:pt x="6995" y="758998"/>
                    </a:cubicBezTo>
                    <a:lnTo>
                      <a:pt x="0" y="713163"/>
                    </a:lnTo>
                    <a:lnTo>
                      <a:pt x="6995" y="667328"/>
                    </a:lnTo>
                    <a:cubicBezTo>
                      <a:pt x="84927" y="286485"/>
                      <a:pt x="421896" y="0"/>
                      <a:pt x="825778" y="0"/>
                    </a:cubicBez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24" name="CustomIcon">
              <a:extLst>
                <a:ext uri="{FF2B5EF4-FFF2-40B4-BE49-F238E27FC236}">
                  <a16:creationId xmlns:a16="http://schemas.microsoft.com/office/drawing/2014/main" id="{3B48D247-AD02-40D2-846A-F57584C2FAAA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>
            <a:xfrm>
              <a:off x="4528834" y="3690325"/>
              <a:ext cx="425224" cy="415313"/>
              <a:chOff x="0" y="1588"/>
              <a:chExt cx="6880225" cy="6719888"/>
            </a:xfrm>
            <a:solidFill>
              <a:schemeClr val="bg1"/>
            </a:solidFill>
          </p:grpSpPr>
          <p:sp>
            <p:nvSpPr>
              <p:cNvPr id="125" name="Freeform 36">
                <a:extLst>
                  <a:ext uri="{FF2B5EF4-FFF2-40B4-BE49-F238E27FC236}">
                    <a16:creationId xmlns:a16="http://schemas.microsoft.com/office/drawing/2014/main" id="{20D68BCC-0A09-4A36-9B7B-0FF208256D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0" y="1588"/>
                <a:ext cx="6880225" cy="6719888"/>
              </a:xfrm>
              <a:custGeom>
                <a:avLst/>
                <a:gdLst>
                  <a:gd name="T0" fmla="*/ 2556 w 3200"/>
                  <a:gd name="T1" fmla="*/ 2278 h 3134"/>
                  <a:gd name="T2" fmla="*/ 1934 w 3200"/>
                  <a:gd name="T3" fmla="*/ 1544 h 3134"/>
                  <a:gd name="T4" fmla="*/ 2556 w 3200"/>
                  <a:gd name="T5" fmla="*/ 779 h 3134"/>
                  <a:gd name="T6" fmla="*/ 3200 w 3200"/>
                  <a:gd name="T7" fmla="*/ 530 h 3134"/>
                  <a:gd name="T8" fmla="*/ 2460 w 3200"/>
                  <a:gd name="T9" fmla="*/ 530 h 3134"/>
                  <a:gd name="T10" fmla="*/ 2343 w 3200"/>
                  <a:gd name="T11" fmla="*/ 742 h 3134"/>
                  <a:gd name="T12" fmla="*/ 2322 w 3200"/>
                  <a:gd name="T13" fmla="*/ 553 h 3134"/>
                  <a:gd name="T14" fmla="*/ 1740 w 3200"/>
                  <a:gd name="T15" fmla="*/ 0 h 3134"/>
                  <a:gd name="T16" fmla="*/ 0 w 3200"/>
                  <a:gd name="T17" fmla="*/ 70 h 3134"/>
                  <a:gd name="T18" fmla="*/ 70 w 3200"/>
                  <a:gd name="T19" fmla="*/ 3134 h 3134"/>
                  <a:gd name="T20" fmla="*/ 2343 w 3200"/>
                  <a:gd name="T21" fmla="*/ 3064 h 3134"/>
                  <a:gd name="T22" fmla="*/ 2483 w 3200"/>
                  <a:gd name="T23" fmla="*/ 2397 h 3134"/>
                  <a:gd name="T24" fmla="*/ 2830 w 3200"/>
                  <a:gd name="T25" fmla="*/ 2896 h 3134"/>
                  <a:gd name="T26" fmla="*/ 2830 w 3200"/>
                  <a:gd name="T27" fmla="*/ 2156 h 3134"/>
                  <a:gd name="T28" fmla="*/ 3060 w 3200"/>
                  <a:gd name="T29" fmla="*/ 530 h 3134"/>
                  <a:gd name="T30" fmla="*/ 2600 w 3200"/>
                  <a:gd name="T31" fmla="*/ 530 h 3134"/>
                  <a:gd name="T32" fmla="*/ 1794 w 3200"/>
                  <a:gd name="T33" fmla="*/ 1544 h 3134"/>
                  <a:gd name="T34" fmla="*/ 1493 w 3200"/>
                  <a:gd name="T35" fmla="*/ 1661 h 3134"/>
                  <a:gd name="T36" fmla="*/ 1485 w 3200"/>
                  <a:gd name="T37" fmla="*/ 1407 h 3134"/>
                  <a:gd name="T38" fmla="*/ 1794 w 3200"/>
                  <a:gd name="T39" fmla="*/ 1544 h 3134"/>
                  <a:gd name="T40" fmla="*/ 1142 w 3200"/>
                  <a:gd name="T41" fmla="*/ 1774 h 3134"/>
                  <a:gd name="T42" fmla="*/ 1142 w 3200"/>
                  <a:gd name="T43" fmla="*/ 1314 h 3134"/>
                  <a:gd name="T44" fmla="*/ 1142 w 3200"/>
                  <a:gd name="T45" fmla="*/ 1174 h 3134"/>
                  <a:gd name="T46" fmla="*/ 1142 w 3200"/>
                  <a:gd name="T47" fmla="*/ 1914 h 3134"/>
                  <a:gd name="T48" fmla="*/ 1670 w 3200"/>
                  <a:gd name="T49" fmla="*/ 1926 h 3134"/>
                  <a:gd name="T50" fmla="*/ 490 w 3200"/>
                  <a:gd name="T51" fmla="*/ 1544 h 3134"/>
                  <a:gd name="T52" fmla="*/ 1656 w 3200"/>
                  <a:gd name="T53" fmla="*/ 1144 h 3134"/>
                  <a:gd name="T54" fmla="*/ 1142 w 3200"/>
                  <a:gd name="T55" fmla="*/ 1174 h 3134"/>
                  <a:gd name="T56" fmla="*/ 2084 w 3200"/>
                  <a:gd name="T57" fmla="*/ 513 h 3134"/>
                  <a:gd name="T58" fmla="*/ 1797 w 3200"/>
                  <a:gd name="T59" fmla="*/ 226 h 3134"/>
                  <a:gd name="T60" fmla="*/ 140 w 3200"/>
                  <a:gd name="T61" fmla="*/ 2994 h 3134"/>
                  <a:gd name="T62" fmla="*/ 1658 w 3200"/>
                  <a:gd name="T63" fmla="*/ 140 h 3134"/>
                  <a:gd name="T64" fmla="*/ 1677 w 3200"/>
                  <a:gd name="T65" fmla="*/ 633 h 3134"/>
                  <a:gd name="T66" fmla="*/ 2194 w 3200"/>
                  <a:gd name="T67" fmla="*/ 653 h 3134"/>
                  <a:gd name="T68" fmla="*/ 2203 w 3200"/>
                  <a:gd name="T69" fmla="*/ 824 h 3134"/>
                  <a:gd name="T70" fmla="*/ 1142 w 3200"/>
                  <a:gd name="T71" fmla="*/ 752 h 3134"/>
                  <a:gd name="T72" fmla="*/ 1142 w 3200"/>
                  <a:gd name="T73" fmla="*/ 2336 h 3134"/>
                  <a:gd name="T74" fmla="*/ 2203 w 3200"/>
                  <a:gd name="T75" fmla="*/ 2234 h 3134"/>
                  <a:gd name="T76" fmla="*/ 2830 w 3200"/>
                  <a:gd name="T77" fmla="*/ 2756 h 3134"/>
                  <a:gd name="T78" fmla="*/ 2830 w 3200"/>
                  <a:gd name="T79" fmla="*/ 2296 h 3134"/>
                  <a:gd name="T80" fmla="*/ 2830 w 3200"/>
                  <a:gd name="T81" fmla="*/ 2756 h 3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200" h="3134">
                    <a:moveTo>
                      <a:pt x="2830" y="2156"/>
                    </a:moveTo>
                    <a:cubicBezTo>
                      <a:pt x="2722" y="2156"/>
                      <a:pt x="2624" y="2203"/>
                      <a:pt x="2556" y="2278"/>
                    </a:cubicBezTo>
                    <a:cubicBezTo>
                      <a:pt x="1862" y="1875"/>
                      <a:pt x="1862" y="1875"/>
                      <a:pt x="1862" y="1875"/>
                    </a:cubicBezTo>
                    <a:cubicBezTo>
                      <a:pt x="1908" y="1774"/>
                      <a:pt x="1934" y="1662"/>
                      <a:pt x="1934" y="1544"/>
                    </a:cubicBezTo>
                    <a:cubicBezTo>
                      <a:pt x="1934" y="1418"/>
                      <a:pt x="1904" y="1298"/>
                      <a:pt x="1851" y="1192"/>
                    </a:cubicBezTo>
                    <a:cubicBezTo>
                      <a:pt x="2556" y="779"/>
                      <a:pt x="2556" y="779"/>
                      <a:pt x="2556" y="779"/>
                    </a:cubicBezTo>
                    <a:cubicBezTo>
                      <a:pt x="2624" y="854"/>
                      <a:pt x="2722" y="900"/>
                      <a:pt x="2830" y="900"/>
                    </a:cubicBezTo>
                    <a:cubicBezTo>
                      <a:pt x="3034" y="900"/>
                      <a:pt x="3200" y="734"/>
                      <a:pt x="3200" y="530"/>
                    </a:cubicBezTo>
                    <a:cubicBezTo>
                      <a:pt x="3200" y="326"/>
                      <a:pt x="3034" y="160"/>
                      <a:pt x="2830" y="160"/>
                    </a:cubicBezTo>
                    <a:cubicBezTo>
                      <a:pt x="2626" y="160"/>
                      <a:pt x="2460" y="326"/>
                      <a:pt x="2460" y="530"/>
                    </a:cubicBezTo>
                    <a:cubicBezTo>
                      <a:pt x="2460" y="576"/>
                      <a:pt x="2468" y="619"/>
                      <a:pt x="2483" y="660"/>
                    </a:cubicBezTo>
                    <a:cubicBezTo>
                      <a:pt x="2343" y="742"/>
                      <a:pt x="2343" y="742"/>
                      <a:pt x="2343" y="742"/>
                    </a:cubicBezTo>
                    <a:cubicBezTo>
                      <a:pt x="2343" y="603"/>
                      <a:pt x="2343" y="603"/>
                      <a:pt x="2343" y="603"/>
                    </a:cubicBezTo>
                    <a:cubicBezTo>
                      <a:pt x="2343" y="584"/>
                      <a:pt x="2335" y="566"/>
                      <a:pt x="2322" y="553"/>
                    </a:cubicBezTo>
                    <a:cubicBezTo>
                      <a:pt x="1790" y="21"/>
                      <a:pt x="1790" y="21"/>
                      <a:pt x="1790" y="21"/>
                    </a:cubicBezTo>
                    <a:cubicBezTo>
                      <a:pt x="1777" y="7"/>
                      <a:pt x="1759" y="0"/>
                      <a:pt x="1740" y="0"/>
                    </a:cubicBezTo>
                    <a:cubicBezTo>
                      <a:pt x="70" y="0"/>
                      <a:pt x="70" y="0"/>
                      <a:pt x="70" y="0"/>
                    </a:cubicBezTo>
                    <a:cubicBezTo>
                      <a:pt x="31" y="0"/>
                      <a:pt x="0" y="31"/>
                      <a:pt x="0" y="70"/>
                    </a:cubicBezTo>
                    <a:cubicBezTo>
                      <a:pt x="0" y="3064"/>
                      <a:pt x="0" y="3064"/>
                      <a:pt x="0" y="3064"/>
                    </a:cubicBezTo>
                    <a:cubicBezTo>
                      <a:pt x="0" y="3103"/>
                      <a:pt x="31" y="3134"/>
                      <a:pt x="70" y="3134"/>
                    </a:cubicBezTo>
                    <a:cubicBezTo>
                      <a:pt x="2273" y="3134"/>
                      <a:pt x="2273" y="3134"/>
                      <a:pt x="2273" y="3134"/>
                    </a:cubicBezTo>
                    <a:cubicBezTo>
                      <a:pt x="2311" y="3134"/>
                      <a:pt x="2343" y="3103"/>
                      <a:pt x="2343" y="3064"/>
                    </a:cubicBezTo>
                    <a:cubicBezTo>
                      <a:pt x="2343" y="2316"/>
                      <a:pt x="2343" y="2316"/>
                      <a:pt x="2343" y="2316"/>
                    </a:cubicBezTo>
                    <a:cubicBezTo>
                      <a:pt x="2483" y="2397"/>
                      <a:pt x="2483" y="2397"/>
                      <a:pt x="2483" y="2397"/>
                    </a:cubicBezTo>
                    <a:cubicBezTo>
                      <a:pt x="2468" y="2437"/>
                      <a:pt x="2460" y="2481"/>
                      <a:pt x="2460" y="2526"/>
                    </a:cubicBezTo>
                    <a:cubicBezTo>
                      <a:pt x="2460" y="2730"/>
                      <a:pt x="2626" y="2896"/>
                      <a:pt x="2830" y="2896"/>
                    </a:cubicBezTo>
                    <a:cubicBezTo>
                      <a:pt x="3034" y="2896"/>
                      <a:pt x="3200" y="2730"/>
                      <a:pt x="3200" y="2526"/>
                    </a:cubicBezTo>
                    <a:cubicBezTo>
                      <a:pt x="3200" y="2322"/>
                      <a:pt x="3034" y="2156"/>
                      <a:pt x="2830" y="2156"/>
                    </a:cubicBezTo>
                    <a:close/>
                    <a:moveTo>
                      <a:pt x="2830" y="300"/>
                    </a:moveTo>
                    <a:cubicBezTo>
                      <a:pt x="2957" y="300"/>
                      <a:pt x="3060" y="403"/>
                      <a:pt x="3060" y="530"/>
                    </a:cubicBezTo>
                    <a:cubicBezTo>
                      <a:pt x="3060" y="657"/>
                      <a:pt x="2957" y="760"/>
                      <a:pt x="2830" y="760"/>
                    </a:cubicBezTo>
                    <a:cubicBezTo>
                      <a:pt x="2703" y="760"/>
                      <a:pt x="2600" y="657"/>
                      <a:pt x="2600" y="530"/>
                    </a:cubicBezTo>
                    <a:cubicBezTo>
                      <a:pt x="2600" y="403"/>
                      <a:pt x="2703" y="300"/>
                      <a:pt x="2830" y="300"/>
                    </a:cubicBezTo>
                    <a:close/>
                    <a:moveTo>
                      <a:pt x="1794" y="1544"/>
                    </a:moveTo>
                    <a:cubicBezTo>
                      <a:pt x="1794" y="1637"/>
                      <a:pt x="1775" y="1724"/>
                      <a:pt x="1740" y="1804"/>
                    </a:cubicBezTo>
                    <a:cubicBezTo>
                      <a:pt x="1493" y="1661"/>
                      <a:pt x="1493" y="1661"/>
                      <a:pt x="1493" y="1661"/>
                    </a:cubicBezTo>
                    <a:cubicBezTo>
                      <a:pt x="1505" y="1624"/>
                      <a:pt x="1512" y="1585"/>
                      <a:pt x="1512" y="1544"/>
                    </a:cubicBezTo>
                    <a:cubicBezTo>
                      <a:pt x="1512" y="1496"/>
                      <a:pt x="1502" y="1449"/>
                      <a:pt x="1485" y="1407"/>
                    </a:cubicBezTo>
                    <a:cubicBezTo>
                      <a:pt x="1730" y="1263"/>
                      <a:pt x="1730" y="1263"/>
                      <a:pt x="1730" y="1263"/>
                    </a:cubicBezTo>
                    <a:cubicBezTo>
                      <a:pt x="1771" y="1348"/>
                      <a:pt x="1794" y="1444"/>
                      <a:pt x="1794" y="1544"/>
                    </a:cubicBezTo>
                    <a:close/>
                    <a:moveTo>
                      <a:pt x="1372" y="1544"/>
                    </a:moveTo>
                    <a:cubicBezTo>
                      <a:pt x="1372" y="1671"/>
                      <a:pt x="1269" y="1774"/>
                      <a:pt x="1142" y="1774"/>
                    </a:cubicBezTo>
                    <a:cubicBezTo>
                      <a:pt x="1015" y="1774"/>
                      <a:pt x="912" y="1671"/>
                      <a:pt x="912" y="1544"/>
                    </a:cubicBezTo>
                    <a:cubicBezTo>
                      <a:pt x="912" y="1418"/>
                      <a:pt x="1015" y="1314"/>
                      <a:pt x="1142" y="1314"/>
                    </a:cubicBezTo>
                    <a:cubicBezTo>
                      <a:pt x="1269" y="1314"/>
                      <a:pt x="1372" y="1418"/>
                      <a:pt x="1372" y="1544"/>
                    </a:cubicBezTo>
                    <a:close/>
                    <a:moveTo>
                      <a:pt x="1142" y="1174"/>
                    </a:moveTo>
                    <a:cubicBezTo>
                      <a:pt x="938" y="1174"/>
                      <a:pt x="772" y="1340"/>
                      <a:pt x="772" y="1544"/>
                    </a:cubicBezTo>
                    <a:cubicBezTo>
                      <a:pt x="772" y="1748"/>
                      <a:pt x="938" y="1914"/>
                      <a:pt x="1142" y="1914"/>
                    </a:cubicBezTo>
                    <a:cubicBezTo>
                      <a:pt x="1255" y="1914"/>
                      <a:pt x="1357" y="1863"/>
                      <a:pt x="1424" y="1783"/>
                    </a:cubicBezTo>
                    <a:cubicBezTo>
                      <a:pt x="1670" y="1926"/>
                      <a:pt x="1670" y="1926"/>
                      <a:pt x="1670" y="1926"/>
                    </a:cubicBezTo>
                    <a:cubicBezTo>
                      <a:pt x="1552" y="2090"/>
                      <a:pt x="1359" y="2196"/>
                      <a:pt x="1142" y="2196"/>
                    </a:cubicBezTo>
                    <a:cubicBezTo>
                      <a:pt x="782" y="2196"/>
                      <a:pt x="490" y="1904"/>
                      <a:pt x="490" y="1544"/>
                    </a:cubicBezTo>
                    <a:cubicBezTo>
                      <a:pt x="490" y="1185"/>
                      <a:pt x="782" y="892"/>
                      <a:pt x="1142" y="892"/>
                    </a:cubicBezTo>
                    <a:cubicBezTo>
                      <a:pt x="1351" y="892"/>
                      <a:pt x="1537" y="991"/>
                      <a:pt x="1656" y="1144"/>
                    </a:cubicBezTo>
                    <a:cubicBezTo>
                      <a:pt x="1409" y="1289"/>
                      <a:pt x="1409" y="1289"/>
                      <a:pt x="1409" y="1289"/>
                    </a:cubicBezTo>
                    <a:cubicBezTo>
                      <a:pt x="1342" y="1218"/>
                      <a:pt x="1247" y="1174"/>
                      <a:pt x="1142" y="1174"/>
                    </a:cubicBezTo>
                    <a:close/>
                    <a:moveTo>
                      <a:pt x="1797" y="226"/>
                    </a:moveTo>
                    <a:cubicBezTo>
                      <a:pt x="2084" y="513"/>
                      <a:pt x="2084" y="513"/>
                      <a:pt x="2084" y="513"/>
                    </a:cubicBezTo>
                    <a:cubicBezTo>
                      <a:pt x="1797" y="513"/>
                      <a:pt x="1797" y="513"/>
                      <a:pt x="1797" y="513"/>
                    </a:cubicBezTo>
                    <a:lnTo>
                      <a:pt x="1797" y="226"/>
                    </a:lnTo>
                    <a:close/>
                    <a:moveTo>
                      <a:pt x="2203" y="2994"/>
                    </a:moveTo>
                    <a:cubicBezTo>
                      <a:pt x="140" y="2994"/>
                      <a:pt x="140" y="2994"/>
                      <a:pt x="140" y="2994"/>
                    </a:cubicBezTo>
                    <a:cubicBezTo>
                      <a:pt x="140" y="140"/>
                      <a:pt x="140" y="140"/>
                      <a:pt x="140" y="140"/>
                    </a:cubicBezTo>
                    <a:cubicBezTo>
                      <a:pt x="1658" y="140"/>
                      <a:pt x="1658" y="140"/>
                      <a:pt x="1658" y="140"/>
                    </a:cubicBezTo>
                    <a:cubicBezTo>
                      <a:pt x="1657" y="583"/>
                      <a:pt x="1657" y="583"/>
                      <a:pt x="1657" y="583"/>
                    </a:cubicBezTo>
                    <a:cubicBezTo>
                      <a:pt x="1657" y="602"/>
                      <a:pt x="1664" y="620"/>
                      <a:pt x="1677" y="633"/>
                    </a:cubicBezTo>
                    <a:cubicBezTo>
                      <a:pt x="1690" y="646"/>
                      <a:pt x="1708" y="653"/>
                      <a:pt x="1727" y="653"/>
                    </a:cubicBezTo>
                    <a:cubicBezTo>
                      <a:pt x="2194" y="653"/>
                      <a:pt x="2194" y="653"/>
                      <a:pt x="2194" y="653"/>
                    </a:cubicBezTo>
                    <a:cubicBezTo>
                      <a:pt x="2197" y="653"/>
                      <a:pt x="2200" y="653"/>
                      <a:pt x="2203" y="653"/>
                    </a:cubicBezTo>
                    <a:cubicBezTo>
                      <a:pt x="2203" y="824"/>
                      <a:pt x="2203" y="824"/>
                      <a:pt x="2203" y="824"/>
                    </a:cubicBezTo>
                    <a:cubicBezTo>
                      <a:pt x="1778" y="1073"/>
                      <a:pt x="1778" y="1073"/>
                      <a:pt x="1778" y="1073"/>
                    </a:cubicBezTo>
                    <a:cubicBezTo>
                      <a:pt x="1633" y="879"/>
                      <a:pt x="1402" y="752"/>
                      <a:pt x="1142" y="752"/>
                    </a:cubicBezTo>
                    <a:cubicBezTo>
                      <a:pt x="705" y="752"/>
                      <a:pt x="350" y="1108"/>
                      <a:pt x="350" y="1544"/>
                    </a:cubicBezTo>
                    <a:cubicBezTo>
                      <a:pt x="350" y="1981"/>
                      <a:pt x="705" y="2336"/>
                      <a:pt x="1142" y="2336"/>
                    </a:cubicBezTo>
                    <a:cubicBezTo>
                      <a:pt x="1411" y="2336"/>
                      <a:pt x="1649" y="2202"/>
                      <a:pt x="1792" y="1996"/>
                    </a:cubicBezTo>
                    <a:cubicBezTo>
                      <a:pt x="2203" y="2234"/>
                      <a:pt x="2203" y="2234"/>
                      <a:pt x="2203" y="2234"/>
                    </a:cubicBezTo>
                    <a:lnTo>
                      <a:pt x="2203" y="2994"/>
                    </a:lnTo>
                    <a:close/>
                    <a:moveTo>
                      <a:pt x="2830" y="2756"/>
                    </a:moveTo>
                    <a:cubicBezTo>
                      <a:pt x="2703" y="2756"/>
                      <a:pt x="2600" y="2653"/>
                      <a:pt x="2600" y="2526"/>
                    </a:cubicBezTo>
                    <a:cubicBezTo>
                      <a:pt x="2600" y="2400"/>
                      <a:pt x="2703" y="2296"/>
                      <a:pt x="2830" y="2296"/>
                    </a:cubicBezTo>
                    <a:cubicBezTo>
                      <a:pt x="2957" y="2296"/>
                      <a:pt x="3060" y="2400"/>
                      <a:pt x="3060" y="2526"/>
                    </a:cubicBezTo>
                    <a:cubicBezTo>
                      <a:pt x="3060" y="2653"/>
                      <a:pt x="2957" y="2756"/>
                      <a:pt x="2830" y="27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0" dirty="0"/>
              </a:p>
            </p:txBody>
          </p:sp>
          <p:sp>
            <p:nvSpPr>
              <p:cNvPr id="126" name="Freeform 37">
                <a:extLst>
                  <a:ext uri="{FF2B5EF4-FFF2-40B4-BE49-F238E27FC236}">
                    <a16:creationId xmlns:a16="http://schemas.microsoft.com/office/drawing/2014/main" id="{C055FFB4-B87F-46E5-AC33-47BE8FB9CA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125" y="5316538"/>
                <a:ext cx="3925888" cy="301625"/>
              </a:xfrm>
              <a:custGeom>
                <a:avLst/>
                <a:gdLst>
                  <a:gd name="T0" fmla="*/ 70 w 1826"/>
                  <a:gd name="T1" fmla="*/ 0 h 140"/>
                  <a:gd name="T2" fmla="*/ 0 w 1826"/>
                  <a:gd name="T3" fmla="*/ 70 h 140"/>
                  <a:gd name="T4" fmla="*/ 70 w 1826"/>
                  <a:gd name="T5" fmla="*/ 140 h 140"/>
                  <a:gd name="T6" fmla="*/ 1756 w 1826"/>
                  <a:gd name="T7" fmla="*/ 140 h 140"/>
                  <a:gd name="T8" fmla="*/ 1826 w 1826"/>
                  <a:gd name="T9" fmla="*/ 70 h 140"/>
                  <a:gd name="T10" fmla="*/ 1756 w 1826"/>
                  <a:gd name="T11" fmla="*/ 0 h 140"/>
                  <a:gd name="T12" fmla="*/ 70 w 1826"/>
                  <a:gd name="T13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26" h="140">
                    <a:moveTo>
                      <a:pt x="70" y="0"/>
                    </a:moveTo>
                    <a:cubicBezTo>
                      <a:pt x="31" y="0"/>
                      <a:pt x="0" y="31"/>
                      <a:pt x="0" y="70"/>
                    </a:cubicBezTo>
                    <a:cubicBezTo>
                      <a:pt x="0" y="109"/>
                      <a:pt x="31" y="140"/>
                      <a:pt x="70" y="140"/>
                    </a:cubicBezTo>
                    <a:cubicBezTo>
                      <a:pt x="1756" y="140"/>
                      <a:pt x="1756" y="140"/>
                      <a:pt x="1756" y="140"/>
                    </a:cubicBezTo>
                    <a:cubicBezTo>
                      <a:pt x="1794" y="140"/>
                      <a:pt x="1826" y="109"/>
                      <a:pt x="1826" y="70"/>
                    </a:cubicBezTo>
                    <a:cubicBezTo>
                      <a:pt x="1826" y="31"/>
                      <a:pt x="1794" y="0"/>
                      <a:pt x="1756" y="0"/>
                    </a:cubicBezTo>
                    <a:lnTo>
                      <a:pt x="7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0" dirty="0"/>
              </a:p>
            </p:txBody>
          </p:sp>
          <p:sp>
            <p:nvSpPr>
              <p:cNvPr id="127" name="Freeform 38">
                <a:extLst>
                  <a:ext uri="{FF2B5EF4-FFF2-40B4-BE49-F238E27FC236}">
                    <a16:creationId xmlns:a16="http://schemas.microsoft.com/office/drawing/2014/main" id="{AB8F7074-A11D-4F2C-8841-AF6770707B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125" y="5822950"/>
                <a:ext cx="2239963" cy="300038"/>
              </a:xfrm>
              <a:custGeom>
                <a:avLst/>
                <a:gdLst>
                  <a:gd name="T0" fmla="*/ 972 w 1042"/>
                  <a:gd name="T1" fmla="*/ 0 h 140"/>
                  <a:gd name="T2" fmla="*/ 70 w 1042"/>
                  <a:gd name="T3" fmla="*/ 0 h 140"/>
                  <a:gd name="T4" fmla="*/ 0 w 1042"/>
                  <a:gd name="T5" fmla="*/ 70 h 140"/>
                  <a:gd name="T6" fmla="*/ 70 w 1042"/>
                  <a:gd name="T7" fmla="*/ 140 h 140"/>
                  <a:gd name="T8" fmla="*/ 972 w 1042"/>
                  <a:gd name="T9" fmla="*/ 140 h 140"/>
                  <a:gd name="T10" fmla="*/ 1042 w 1042"/>
                  <a:gd name="T11" fmla="*/ 70 h 140"/>
                  <a:gd name="T12" fmla="*/ 972 w 1042"/>
                  <a:gd name="T13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2" h="140">
                    <a:moveTo>
                      <a:pt x="972" y="0"/>
                    </a:moveTo>
                    <a:cubicBezTo>
                      <a:pt x="70" y="0"/>
                      <a:pt x="70" y="0"/>
                      <a:pt x="70" y="0"/>
                    </a:cubicBezTo>
                    <a:cubicBezTo>
                      <a:pt x="31" y="0"/>
                      <a:pt x="0" y="31"/>
                      <a:pt x="0" y="70"/>
                    </a:cubicBezTo>
                    <a:cubicBezTo>
                      <a:pt x="0" y="109"/>
                      <a:pt x="31" y="140"/>
                      <a:pt x="70" y="140"/>
                    </a:cubicBezTo>
                    <a:cubicBezTo>
                      <a:pt x="972" y="140"/>
                      <a:pt x="972" y="140"/>
                      <a:pt x="972" y="140"/>
                    </a:cubicBezTo>
                    <a:cubicBezTo>
                      <a:pt x="1010" y="140"/>
                      <a:pt x="1042" y="109"/>
                      <a:pt x="1042" y="70"/>
                    </a:cubicBezTo>
                    <a:cubicBezTo>
                      <a:pt x="1042" y="31"/>
                      <a:pt x="1010" y="0"/>
                      <a:pt x="97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0" dirty="0"/>
              </a:p>
            </p:txBody>
          </p:sp>
          <p:sp>
            <p:nvSpPr>
              <p:cNvPr id="128" name="Freeform 39">
                <a:extLst>
                  <a:ext uri="{FF2B5EF4-FFF2-40B4-BE49-F238E27FC236}">
                    <a16:creationId xmlns:a16="http://schemas.microsoft.com/office/drawing/2014/main" id="{33F9274E-7C4D-4F98-8D4C-7DE5932031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6713" y="5822950"/>
                <a:ext cx="1117600" cy="300038"/>
              </a:xfrm>
              <a:custGeom>
                <a:avLst/>
                <a:gdLst>
                  <a:gd name="T0" fmla="*/ 450 w 520"/>
                  <a:gd name="T1" fmla="*/ 0 h 140"/>
                  <a:gd name="T2" fmla="*/ 70 w 520"/>
                  <a:gd name="T3" fmla="*/ 0 h 140"/>
                  <a:gd name="T4" fmla="*/ 0 w 520"/>
                  <a:gd name="T5" fmla="*/ 70 h 140"/>
                  <a:gd name="T6" fmla="*/ 70 w 520"/>
                  <a:gd name="T7" fmla="*/ 140 h 140"/>
                  <a:gd name="T8" fmla="*/ 450 w 520"/>
                  <a:gd name="T9" fmla="*/ 140 h 140"/>
                  <a:gd name="T10" fmla="*/ 520 w 520"/>
                  <a:gd name="T11" fmla="*/ 70 h 140"/>
                  <a:gd name="T12" fmla="*/ 450 w 520"/>
                  <a:gd name="T13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0" h="140">
                    <a:moveTo>
                      <a:pt x="450" y="0"/>
                    </a:moveTo>
                    <a:cubicBezTo>
                      <a:pt x="70" y="0"/>
                      <a:pt x="70" y="0"/>
                      <a:pt x="70" y="0"/>
                    </a:cubicBezTo>
                    <a:cubicBezTo>
                      <a:pt x="31" y="0"/>
                      <a:pt x="0" y="31"/>
                      <a:pt x="0" y="70"/>
                    </a:cubicBezTo>
                    <a:cubicBezTo>
                      <a:pt x="0" y="109"/>
                      <a:pt x="31" y="140"/>
                      <a:pt x="70" y="140"/>
                    </a:cubicBezTo>
                    <a:cubicBezTo>
                      <a:pt x="450" y="140"/>
                      <a:pt x="450" y="140"/>
                      <a:pt x="450" y="140"/>
                    </a:cubicBezTo>
                    <a:cubicBezTo>
                      <a:pt x="488" y="140"/>
                      <a:pt x="520" y="109"/>
                      <a:pt x="520" y="70"/>
                    </a:cubicBezTo>
                    <a:cubicBezTo>
                      <a:pt x="520" y="31"/>
                      <a:pt x="488" y="0"/>
                      <a:pt x="45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0" dirty="0"/>
              </a:p>
            </p:txBody>
          </p:sp>
          <p:sp>
            <p:nvSpPr>
              <p:cNvPr id="130" name="Freeform 40">
                <a:extLst>
                  <a:ext uri="{FF2B5EF4-FFF2-40B4-BE49-F238E27FC236}">
                    <a16:creationId xmlns:a16="http://schemas.microsoft.com/office/drawing/2014/main" id="{EC9E2E8D-E982-4F64-A8F6-B52CEEC9D4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125" y="552450"/>
                <a:ext cx="1597025" cy="301625"/>
              </a:xfrm>
              <a:custGeom>
                <a:avLst/>
                <a:gdLst>
                  <a:gd name="T0" fmla="*/ 70 w 743"/>
                  <a:gd name="T1" fmla="*/ 140 h 140"/>
                  <a:gd name="T2" fmla="*/ 673 w 743"/>
                  <a:gd name="T3" fmla="*/ 140 h 140"/>
                  <a:gd name="T4" fmla="*/ 743 w 743"/>
                  <a:gd name="T5" fmla="*/ 70 h 140"/>
                  <a:gd name="T6" fmla="*/ 673 w 743"/>
                  <a:gd name="T7" fmla="*/ 0 h 140"/>
                  <a:gd name="T8" fmla="*/ 70 w 743"/>
                  <a:gd name="T9" fmla="*/ 0 h 140"/>
                  <a:gd name="T10" fmla="*/ 0 w 743"/>
                  <a:gd name="T11" fmla="*/ 70 h 140"/>
                  <a:gd name="T12" fmla="*/ 70 w 743"/>
                  <a:gd name="T13" fmla="*/ 14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43" h="140">
                    <a:moveTo>
                      <a:pt x="70" y="140"/>
                    </a:moveTo>
                    <a:cubicBezTo>
                      <a:pt x="673" y="140"/>
                      <a:pt x="673" y="140"/>
                      <a:pt x="673" y="140"/>
                    </a:cubicBezTo>
                    <a:cubicBezTo>
                      <a:pt x="712" y="140"/>
                      <a:pt x="743" y="108"/>
                      <a:pt x="743" y="70"/>
                    </a:cubicBezTo>
                    <a:cubicBezTo>
                      <a:pt x="743" y="31"/>
                      <a:pt x="712" y="0"/>
                      <a:pt x="673" y="0"/>
                    </a:cubicBezTo>
                    <a:cubicBezTo>
                      <a:pt x="70" y="0"/>
                      <a:pt x="70" y="0"/>
                      <a:pt x="70" y="0"/>
                    </a:cubicBezTo>
                    <a:cubicBezTo>
                      <a:pt x="31" y="0"/>
                      <a:pt x="0" y="31"/>
                      <a:pt x="0" y="70"/>
                    </a:cubicBezTo>
                    <a:cubicBezTo>
                      <a:pt x="0" y="108"/>
                      <a:pt x="31" y="140"/>
                      <a:pt x="70" y="1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0" dirty="0"/>
              </a:p>
            </p:txBody>
          </p:sp>
          <p:sp>
            <p:nvSpPr>
              <p:cNvPr id="131" name="Freeform 41">
                <a:extLst>
                  <a:ext uri="{FF2B5EF4-FFF2-40B4-BE49-F238E27FC236}">
                    <a16:creationId xmlns:a16="http://schemas.microsoft.com/office/drawing/2014/main" id="{6853DE13-CD87-4EE1-AD95-45CE15A8BD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125" y="1031875"/>
                <a:ext cx="847725" cy="300038"/>
              </a:xfrm>
              <a:custGeom>
                <a:avLst/>
                <a:gdLst>
                  <a:gd name="T0" fmla="*/ 70 w 394"/>
                  <a:gd name="T1" fmla="*/ 140 h 140"/>
                  <a:gd name="T2" fmla="*/ 324 w 394"/>
                  <a:gd name="T3" fmla="*/ 140 h 140"/>
                  <a:gd name="T4" fmla="*/ 394 w 394"/>
                  <a:gd name="T5" fmla="*/ 70 h 140"/>
                  <a:gd name="T6" fmla="*/ 324 w 394"/>
                  <a:gd name="T7" fmla="*/ 0 h 140"/>
                  <a:gd name="T8" fmla="*/ 70 w 394"/>
                  <a:gd name="T9" fmla="*/ 0 h 140"/>
                  <a:gd name="T10" fmla="*/ 0 w 394"/>
                  <a:gd name="T11" fmla="*/ 70 h 140"/>
                  <a:gd name="T12" fmla="*/ 70 w 394"/>
                  <a:gd name="T13" fmla="*/ 14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4" h="140">
                    <a:moveTo>
                      <a:pt x="70" y="140"/>
                    </a:moveTo>
                    <a:cubicBezTo>
                      <a:pt x="324" y="140"/>
                      <a:pt x="324" y="140"/>
                      <a:pt x="324" y="140"/>
                    </a:cubicBezTo>
                    <a:cubicBezTo>
                      <a:pt x="363" y="140"/>
                      <a:pt x="394" y="108"/>
                      <a:pt x="394" y="70"/>
                    </a:cubicBezTo>
                    <a:cubicBezTo>
                      <a:pt x="394" y="31"/>
                      <a:pt x="363" y="0"/>
                      <a:pt x="324" y="0"/>
                    </a:cubicBezTo>
                    <a:cubicBezTo>
                      <a:pt x="70" y="0"/>
                      <a:pt x="70" y="0"/>
                      <a:pt x="70" y="0"/>
                    </a:cubicBezTo>
                    <a:cubicBezTo>
                      <a:pt x="31" y="0"/>
                      <a:pt x="0" y="31"/>
                      <a:pt x="0" y="70"/>
                    </a:cubicBezTo>
                    <a:cubicBezTo>
                      <a:pt x="0" y="108"/>
                      <a:pt x="31" y="140"/>
                      <a:pt x="70" y="1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0" dirty="0"/>
              </a:p>
            </p:txBody>
          </p:sp>
          <p:sp>
            <p:nvSpPr>
              <p:cNvPr id="132" name="Freeform 42">
                <a:extLst>
                  <a:ext uri="{FF2B5EF4-FFF2-40B4-BE49-F238E27FC236}">
                    <a16:creationId xmlns:a16="http://schemas.microsoft.com/office/drawing/2014/main" id="{E4F862A2-7CF5-4F81-80BC-F3134232B3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7163" y="1031875"/>
                <a:ext cx="1958975" cy="300038"/>
              </a:xfrm>
              <a:custGeom>
                <a:avLst/>
                <a:gdLst>
                  <a:gd name="T0" fmla="*/ 0 w 911"/>
                  <a:gd name="T1" fmla="*/ 70 h 140"/>
                  <a:gd name="T2" fmla="*/ 70 w 911"/>
                  <a:gd name="T3" fmla="*/ 140 h 140"/>
                  <a:gd name="T4" fmla="*/ 841 w 911"/>
                  <a:gd name="T5" fmla="*/ 140 h 140"/>
                  <a:gd name="T6" fmla="*/ 911 w 911"/>
                  <a:gd name="T7" fmla="*/ 70 h 140"/>
                  <a:gd name="T8" fmla="*/ 841 w 911"/>
                  <a:gd name="T9" fmla="*/ 0 h 140"/>
                  <a:gd name="T10" fmla="*/ 70 w 911"/>
                  <a:gd name="T11" fmla="*/ 0 h 140"/>
                  <a:gd name="T12" fmla="*/ 0 w 911"/>
                  <a:gd name="T13" fmla="*/ 7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1" h="140">
                    <a:moveTo>
                      <a:pt x="0" y="70"/>
                    </a:moveTo>
                    <a:cubicBezTo>
                      <a:pt x="0" y="108"/>
                      <a:pt x="31" y="140"/>
                      <a:pt x="70" y="140"/>
                    </a:cubicBezTo>
                    <a:cubicBezTo>
                      <a:pt x="841" y="140"/>
                      <a:pt x="841" y="140"/>
                      <a:pt x="841" y="140"/>
                    </a:cubicBezTo>
                    <a:cubicBezTo>
                      <a:pt x="880" y="140"/>
                      <a:pt x="911" y="108"/>
                      <a:pt x="911" y="70"/>
                    </a:cubicBezTo>
                    <a:cubicBezTo>
                      <a:pt x="911" y="31"/>
                      <a:pt x="880" y="0"/>
                      <a:pt x="841" y="0"/>
                    </a:cubicBezTo>
                    <a:cubicBezTo>
                      <a:pt x="70" y="0"/>
                      <a:pt x="70" y="0"/>
                      <a:pt x="70" y="0"/>
                    </a:cubicBezTo>
                    <a:cubicBezTo>
                      <a:pt x="31" y="0"/>
                      <a:pt x="0" y="31"/>
                      <a:pt x="0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0" dirty="0"/>
              </a:p>
            </p:txBody>
          </p:sp>
          <p:sp>
            <p:nvSpPr>
              <p:cNvPr id="133" name="Freeform 43">
                <a:extLst>
                  <a:ext uri="{FF2B5EF4-FFF2-40B4-BE49-F238E27FC236}">
                    <a16:creationId xmlns:a16="http://schemas.microsoft.com/office/drawing/2014/main" id="{E305FB87-5928-487F-AFBE-49D1568C82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5513" y="2339975"/>
                <a:ext cx="301625" cy="477838"/>
              </a:xfrm>
              <a:custGeom>
                <a:avLst/>
                <a:gdLst>
                  <a:gd name="T0" fmla="*/ 140 w 140"/>
                  <a:gd name="T1" fmla="*/ 70 h 223"/>
                  <a:gd name="T2" fmla="*/ 70 w 140"/>
                  <a:gd name="T3" fmla="*/ 0 h 223"/>
                  <a:gd name="T4" fmla="*/ 0 w 140"/>
                  <a:gd name="T5" fmla="*/ 70 h 223"/>
                  <a:gd name="T6" fmla="*/ 0 w 140"/>
                  <a:gd name="T7" fmla="*/ 153 h 223"/>
                  <a:gd name="T8" fmla="*/ 70 w 140"/>
                  <a:gd name="T9" fmla="*/ 223 h 223"/>
                  <a:gd name="T10" fmla="*/ 140 w 140"/>
                  <a:gd name="T11" fmla="*/ 153 h 223"/>
                  <a:gd name="T12" fmla="*/ 140 w 140"/>
                  <a:gd name="T13" fmla="*/ 70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0" h="223">
                    <a:moveTo>
                      <a:pt x="140" y="70"/>
                    </a:moveTo>
                    <a:cubicBezTo>
                      <a:pt x="140" y="31"/>
                      <a:pt x="108" y="0"/>
                      <a:pt x="70" y="0"/>
                    </a:cubicBezTo>
                    <a:cubicBezTo>
                      <a:pt x="31" y="0"/>
                      <a:pt x="0" y="31"/>
                      <a:pt x="0" y="70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191"/>
                      <a:pt x="31" y="223"/>
                      <a:pt x="70" y="223"/>
                    </a:cubicBezTo>
                    <a:cubicBezTo>
                      <a:pt x="108" y="223"/>
                      <a:pt x="140" y="191"/>
                      <a:pt x="140" y="153"/>
                    </a:cubicBezTo>
                    <a:lnTo>
                      <a:pt x="140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0" dirty="0"/>
              </a:p>
            </p:txBody>
          </p:sp>
          <p:sp>
            <p:nvSpPr>
              <p:cNvPr id="135" name="Freeform 44">
                <a:extLst>
                  <a:ext uri="{FF2B5EF4-FFF2-40B4-BE49-F238E27FC236}">
                    <a16:creationId xmlns:a16="http://schemas.microsoft.com/office/drawing/2014/main" id="{63926907-F3B1-4246-8501-7AAC7499F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5513" y="3082925"/>
                <a:ext cx="301625" cy="477838"/>
              </a:xfrm>
              <a:custGeom>
                <a:avLst/>
                <a:gdLst>
                  <a:gd name="T0" fmla="*/ 140 w 140"/>
                  <a:gd name="T1" fmla="*/ 70 h 223"/>
                  <a:gd name="T2" fmla="*/ 70 w 140"/>
                  <a:gd name="T3" fmla="*/ 0 h 223"/>
                  <a:gd name="T4" fmla="*/ 0 w 140"/>
                  <a:gd name="T5" fmla="*/ 70 h 223"/>
                  <a:gd name="T6" fmla="*/ 0 w 140"/>
                  <a:gd name="T7" fmla="*/ 153 h 223"/>
                  <a:gd name="T8" fmla="*/ 70 w 140"/>
                  <a:gd name="T9" fmla="*/ 223 h 223"/>
                  <a:gd name="T10" fmla="*/ 140 w 140"/>
                  <a:gd name="T11" fmla="*/ 153 h 223"/>
                  <a:gd name="T12" fmla="*/ 140 w 140"/>
                  <a:gd name="T13" fmla="*/ 70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0" h="223">
                    <a:moveTo>
                      <a:pt x="140" y="70"/>
                    </a:moveTo>
                    <a:cubicBezTo>
                      <a:pt x="140" y="31"/>
                      <a:pt x="108" y="0"/>
                      <a:pt x="70" y="0"/>
                    </a:cubicBezTo>
                    <a:cubicBezTo>
                      <a:pt x="31" y="0"/>
                      <a:pt x="0" y="31"/>
                      <a:pt x="0" y="70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192"/>
                      <a:pt x="31" y="223"/>
                      <a:pt x="70" y="223"/>
                    </a:cubicBezTo>
                    <a:cubicBezTo>
                      <a:pt x="108" y="223"/>
                      <a:pt x="140" y="192"/>
                      <a:pt x="140" y="153"/>
                    </a:cubicBezTo>
                    <a:lnTo>
                      <a:pt x="140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0" dirty="0"/>
              </a:p>
            </p:txBody>
          </p:sp>
          <p:sp>
            <p:nvSpPr>
              <p:cNvPr id="141" name="Freeform 45">
                <a:extLst>
                  <a:ext uri="{FF2B5EF4-FFF2-40B4-BE49-F238E27FC236}">
                    <a16:creationId xmlns:a16="http://schemas.microsoft.com/office/drawing/2014/main" id="{94B2534C-FC3B-4445-B8BE-15C3A1F059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5513" y="3827463"/>
                <a:ext cx="301625" cy="477838"/>
              </a:xfrm>
              <a:custGeom>
                <a:avLst/>
                <a:gdLst>
                  <a:gd name="T0" fmla="*/ 70 w 140"/>
                  <a:gd name="T1" fmla="*/ 0 h 223"/>
                  <a:gd name="T2" fmla="*/ 0 w 140"/>
                  <a:gd name="T3" fmla="*/ 70 h 223"/>
                  <a:gd name="T4" fmla="*/ 0 w 140"/>
                  <a:gd name="T5" fmla="*/ 153 h 223"/>
                  <a:gd name="T6" fmla="*/ 70 w 140"/>
                  <a:gd name="T7" fmla="*/ 223 h 223"/>
                  <a:gd name="T8" fmla="*/ 140 w 140"/>
                  <a:gd name="T9" fmla="*/ 153 h 223"/>
                  <a:gd name="T10" fmla="*/ 140 w 140"/>
                  <a:gd name="T11" fmla="*/ 70 h 223"/>
                  <a:gd name="T12" fmla="*/ 70 w 140"/>
                  <a:gd name="T13" fmla="*/ 0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0" h="223">
                    <a:moveTo>
                      <a:pt x="70" y="0"/>
                    </a:moveTo>
                    <a:cubicBezTo>
                      <a:pt x="31" y="0"/>
                      <a:pt x="0" y="32"/>
                      <a:pt x="0" y="70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192"/>
                      <a:pt x="31" y="223"/>
                      <a:pt x="70" y="223"/>
                    </a:cubicBezTo>
                    <a:cubicBezTo>
                      <a:pt x="108" y="223"/>
                      <a:pt x="140" y="192"/>
                      <a:pt x="140" y="153"/>
                    </a:cubicBezTo>
                    <a:cubicBezTo>
                      <a:pt x="140" y="70"/>
                      <a:pt x="140" y="70"/>
                      <a:pt x="140" y="70"/>
                    </a:cubicBezTo>
                    <a:cubicBezTo>
                      <a:pt x="140" y="32"/>
                      <a:pt x="108" y="0"/>
                      <a:pt x="7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0" dirty="0"/>
              </a:p>
            </p:txBody>
          </p:sp>
        </p:grp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773D56DE-0549-4D56-836D-74B2625B45CD}"/>
              </a:ext>
            </a:extLst>
          </p:cNvPr>
          <p:cNvGrpSpPr/>
          <p:nvPr/>
        </p:nvGrpSpPr>
        <p:grpSpPr>
          <a:xfrm>
            <a:off x="3895704" y="3084104"/>
            <a:ext cx="781870" cy="781870"/>
            <a:chOff x="3923585" y="5229749"/>
            <a:chExt cx="781870" cy="781870"/>
          </a:xfrm>
        </p:grpSpPr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01A95C1D-3B0F-4CA5-9842-61B0F9407164}"/>
                </a:ext>
              </a:extLst>
            </p:cNvPr>
            <p:cNvGrpSpPr/>
            <p:nvPr/>
          </p:nvGrpSpPr>
          <p:grpSpPr>
            <a:xfrm>
              <a:off x="3923585" y="5229749"/>
              <a:ext cx="781870" cy="781870"/>
              <a:chOff x="-1770711" y="4402641"/>
              <a:chExt cx="1671526" cy="1671527"/>
            </a:xfrm>
          </p:grpSpPr>
          <p:sp>
            <p:nvSpPr>
              <p:cNvPr id="120" name="Oval 119">
                <a:extLst>
                  <a:ext uri="{FF2B5EF4-FFF2-40B4-BE49-F238E27FC236}">
                    <a16:creationId xmlns:a16="http://schemas.microsoft.com/office/drawing/2014/main" id="{45D9C7B3-84C1-4A62-8186-C20A8D05FAFD}"/>
                  </a:ext>
                </a:extLst>
              </p:cNvPr>
              <p:cNvSpPr/>
              <p:nvPr/>
            </p:nvSpPr>
            <p:spPr>
              <a:xfrm>
                <a:off x="-1770711" y="4402641"/>
                <a:ext cx="1671526" cy="1671526"/>
              </a:xfrm>
              <a:prstGeom prst="ellipse">
                <a:avLst/>
              </a:prstGeom>
              <a:solidFill>
                <a:schemeClr val="accent2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18AEAA90-9E6C-47C6-9AF4-0DE25D323572}"/>
                  </a:ext>
                </a:extLst>
              </p:cNvPr>
              <p:cNvSpPr/>
              <p:nvPr/>
            </p:nvSpPr>
            <p:spPr>
              <a:xfrm>
                <a:off x="-1760725" y="4647843"/>
                <a:ext cx="1651557" cy="1426325"/>
              </a:xfrm>
              <a:custGeom>
                <a:avLst/>
                <a:gdLst>
                  <a:gd name="connsiteX0" fmla="*/ 825778 w 1651557"/>
                  <a:gd name="connsiteY0" fmla="*/ 0 h 1426325"/>
                  <a:gd name="connsiteX1" fmla="*/ 1644561 w 1651557"/>
                  <a:gd name="connsiteY1" fmla="*/ 667328 h 1426325"/>
                  <a:gd name="connsiteX2" fmla="*/ 1651557 w 1651557"/>
                  <a:gd name="connsiteY2" fmla="*/ 713163 h 1426325"/>
                  <a:gd name="connsiteX3" fmla="*/ 1644561 w 1651557"/>
                  <a:gd name="connsiteY3" fmla="*/ 758998 h 1426325"/>
                  <a:gd name="connsiteX4" fmla="*/ 825778 w 1651557"/>
                  <a:gd name="connsiteY4" fmla="*/ 1426325 h 1426325"/>
                  <a:gd name="connsiteX5" fmla="*/ 6995 w 1651557"/>
                  <a:gd name="connsiteY5" fmla="*/ 758998 h 1426325"/>
                  <a:gd name="connsiteX6" fmla="*/ 0 w 1651557"/>
                  <a:gd name="connsiteY6" fmla="*/ 713163 h 1426325"/>
                  <a:gd name="connsiteX7" fmla="*/ 6995 w 1651557"/>
                  <a:gd name="connsiteY7" fmla="*/ 667328 h 1426325"/>
                  <a:gd name="connsiteX8" fmla="*/ 825778 w 1651557"/>
                  <a:gd name="connsiteY8" fmla="*/ 0 h 1426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51557" h="1426325">
                    <a:moveTo>
                      <a:pt x="825778" y="0"/>
                    </a:moveTo>
                    <a:cubicBezTo>
                      <a:pt x="1229660" y="0"/>
                      <a:pt x="1566629" y="286485"/>
                      <a:pt x="1644561" y="667328"/>
                    </a:cubicBezTo>
                    <a:lnTo>
                      <a:pt x="1651557" y="713163"/>
                    </a:lnTo>
                    <a:lnTo>
                      <a:pt x="1644561" y="758998"/>
                    </a:lnTo>
                    <a:cubicBezTo>
                      <a:pt x="1566629" y="1139840"/>
                      <a:pt x="1229660" y="1426325"/>
                      <a:pt x="825778" y="1426325"/>
                    </a:cubicBezTo>
                    <a:cubicBezTo>
                      <a:pt x="421896" y="1426325"/>
                      <a:pt x="84927" y="1139840"/>
                      <a:pt x="6995" y="758998"/>
                    </a:cubicBezTo>
                    <a:lnTo>
                      <a:pt x="0" y="713163"/>
                    </a:lnTo>
                    <a:lnTo>
                      <a:pt x="6995" y="667328"/>
                    </a:lnTo>
                    <a:cubicBezTo>
                      <a:pt x="84927" y="286485"/>
                      <a:pt x="421896" y="0"/>
                      <a:pt x="825778" y="0"/>
                    </a:cubicBez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0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119" name="Graphic 118">
              <a:extLst>
                <a:ext uri="{FF2B5EF4-FFF2-40B4-BE49-F238E27FC236}">
                  <a16:creationId xmlns:a16="http://schemas.microsoft.com/office/drawing/2014/main" id="{E8EFF738-CBD0-477A-8CD3-6A1EAA9DFA6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102213" y="5459747"/>
              <a:ext cx="424614" cy="424614"/>
            </a:xfrm>
            <a:prstGeom prst="rect">
              <a:avLst/>
            </a:prstGeom>
          </p:spPr>
        </p:pic>
      </p:grpSp>
      <p:sp>
        <p:nvSpPr>
          <p:cNvPr id="91" name="TextBox 90">
            <a:extLst>
              <a:ext uri="{FF2B5EF4-FFF2-40B4-BE49-F238E27FC236}">
                <a16:creationId xmlns:a16="http://schemas.microsoft.com/office/drawing/2014/main" id="{AD0EE724-54F5-4682-8A7E-7912F750A8A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58759" y="747502"/>
            <a:ext cx="4499192" cy="276999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buFont typeface="Arial"/>
              <a:buNone/>
              <a:defRPr sz="1150" kern="0" spc="-30">
                <a:solidFill>
                  <a:srgbClr val="000000"/>
                </a:solidFill>
              </a:defRPr>
            </a:lvl1pPr>
            <a:lvl2pPr marL="0" lvl="1" indent="0">
              <a:lnSpc>
                <a:spcPct val="110000"/>
              </a:lnSpc>
              <a:spcBef>
                <a:spcPts val="800"/>
              </a:spcBef>
              <a:buFont typeface="Arial"/>
              <a:buNone/>
              <a:defRPr sz="1150" b="1" kern="0" spc="-30">
                <a:solidFill>
                  <a:srgbClr val="000000"/>
                </a:solidFill>
              </a:defRPr>
            </a:lvl2pPr>
            <a:lvl3pPr marL="171450" lvl="2" indent="-171450">
              <a:lnSpc>
                <a:spcPct val="110000"/>
              </a:lnSpc>
              <a:spcBef>
                <a:spcPts val="0"/>
              </a:spcBef>
              <a:buFont typeface="Lucida Grande"/>
              <a:buChar char="●"/>
              <a:defRPr sz="1150" b="0" kern="0" spc="-30"/>
            </a:lvl3pPr>
            <a:lvl4pPr marL="0" lvl="3" indent="0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/>
              <a:buNone/>
              <a:defRPr sz="3400" kern="0" spc="-30">
                <a:solidFill>
                  <a:srgbClr val="000000"/>
                </a:solidFill>
              </a:defRPr>
            </a:lvl4pPr>
            <a:lvl5pPr marL="0" lvl="4" indent="0">
              <a:spcBef>
                <a:spcPts val="0"/>
              </a:spcBef>
              <a:buFont typeface="Arial"/>
              <a:buNone/>
              <a:defRPr sz="1150" kern="0" spc="-30">
                <a:solidFill>
                  <a:srgbClr val="000000"/>
                </a:solidFill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lvl="2" indent="0">
              <a:lnSpc>
                <a:spcPct val="100000"/>
              </a:lnSpc>
              <a:spcBef>
                <a:spcPts val="33"/>
              </a:spcBef>
              <a:buNone/>
            </a:pPr>
            <a:r>
              <a:rPr lang="en-US" sz="1700" b="1" dirty="0">
                <a:solidFill>
                  <a:schemeClr val="tx2"/>
                </a:solidFill>
              </a:rPr>
              <a:t>Ways</a:t>
            </a: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A7BA0B18-8A50-4FEC-9866-05F9A5612EF5}"/>
              </a:ext>
            </a:extLst>
          </p:cNvPr>
          <p:cNvCxnSpPr>
            <a:cxnSpLocks/>
          </p:cNvCxnSpPr>
          <p:nvPr/>
        </p:nvCxnSpPr>
        <p:spPr>
          <a:xfrm>
            <a:off x="158759" y="1023340"/>
            <a:ext cx="4499192" cy="0"/>
          </a:xfrm>
          <a:prstGeom prst="line">
            <a:avLst/>
          </a:prstGeom>
          <a:ln w="9525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TextBox 94">
            <a:extLst>
              <a:ext uri="{FF2B5EF4-FFF2-40B4-BE49-F238E27FC236}">
                <a16:creationId xmlns:a16="http://schemas.microsoft.com/office/drawing/2014/main" id="{B703490C-CD5C-4076-AA70-853C9D117A73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873962" y="744424"/>
            <a:ext cx="2529157" cy="280077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sp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buFont typeface="Arial"/>
              <a:buNone/>
              <a:defRPr sz="1150" kern="0" spc="-30">
                <a:solidFill>
                  <a:srgbClr val="000000"/>
                </a:solidFill>
              </a:defRPr>
            </a:lvl1pPr>
            <a:lvl2pPr marL="0" lvl="1" indent="0">
              <a:lnSpc>
                <a:spcPct val="110000"/>
              </a:lnSpc>
              <a:spcBef>
                <a:spcPts val="800"/>
              </a:spcBef>
              <a:buFont typeface="Arial"/>
              <a:buNone/>
              <a:defRPr sz="1150" b="1" kern="0" spc="-30">
                <a:solidFill>
                  <a:srgbClr val="000000"/>
                </a:solidFill>
              </a:defRPr>
            </a:lvl2pPr>
            <a:lvl3pPr marL="171450" lvl="2" indent="-171450">
              <a:lnSpc>
                <a:spcPct val="110000"/>
              </a:lnSpc>
              <a:spcBef>
                <a:spcPts val="0"/>
              </a:spcBef>
              <a:buFont typeface="Lucida Grande"/>
              <a:buChar char="●"/>
              <a:defRPr sz="1150" b="0" kern="0" spc="-30"/>
            </a:lvl3pPr>
            <a:lvl4pPr marL="0" lvl="3" indent="0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/>
              <a:buNone/>
              <a:defRPr sz="3400" kern="0" spc="-30">
                <a:solidFill>
                  <a:srgbClr val="000000"/>
                </a:solidFill>
              </a:defRPr>
            </a:lvl4pPr>
            <a:lvl5pPr marL="0" lvl="4" indent="0">
              <a:spcBef>
                <a:spcPts val="0"/>
              </a:spcBef>
              <a:buFont typeface="Arial"/>
              <a:buNone/>
              <a:defRPr sz="1150" kern="0" spc="-30">
                <a:solidFill>
                  <a:srgbClr val="000000"/>
                </a:solidFill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lvl="2" indent="0">
              <a:lnSpc>
                <a:spcPct val="100000"/>
              </a:lnSpc>
              <a:spcBef>
                <a:spcPts val="33"/>
              </a:spcBef>
              <a:buNone/>
            </a:pPr>
            <a:r>
              <a:rPr lang="en-US" sz="1700" b="1" dirty="0">
                <a:solidFill>
                  <a:schemeClr val="tx2"/>
                </a:solidFill>
              </a:rPr>
              <a:t>Objective</a:t>
            </a:r>
          </a:p>
        </p:txBody>
      </p: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A842A09C-3A15-42E6-B18B-169EF9401901}"/>
              </a:ext>
            </a:extLst>
          </p:cNvPr>
          <p:cNvCxnSpPr>
            <a:cxnSpLocks/>
          </p:cNvCxnSpPr>
          <p:nvPr/>
        </p:nvCxnSpPr>
        <p:spPr>
          <a:xfrm>
            <a:off x="4873962" y="1023340"/>
            <a:ext cx="2529157" cy="0"/>
          </a:xfrm>
          <a:prstGeom prst="line">
            <a:avLst/>
          </a:prstGeom>
          <a:ln w="9525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1" name="TextBox 150">
            <a:extLst>
              <a:ext uri="{FF2B5EF4-FFF2-40B4-BE49-F238E27FC236}">
                <a16:creationId xmlns:a16="http://schemas.microsoft.com/office/drawing/2014/main" id="{C4421507-AAC5-47D9-B1CA-4BF584ECAB11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7619131" y="747502"/>
            <a:ext cx="4031519" cy="276999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buFont typeface="Arial"/>
              <a:buNone/>
              <a:defRPr sz="1150" kern="0" spc="-30">
                <a:solidFill>
                  <a:srgbClr val="000000"/>
                </a:solidFill>
              </a:defRPr>
            </a:lvl1pPr>
            <a:lvl2pPr marL="0" lvl="1" indent="0">
              <a:lnSpc>
                <a:spcPct val="110000"/>
              </a:lnSpc>
              <a:spcBef>
                <a:spcPts val="800"/>
              </a:spcBef>
              <a:buFont typeface="Arial"/>
              <a:buNone/>
              <a:defRPr sz="1150" b="1" kern="0" spc="-30">
                <a:solidFill>
                  <a:srgbClr val="000000"/>
                </a:solidFill>
              </a:defRPr>
            </a:lvl2pPr>
            <a:lvl3pPr marL="171450" lvl="2" indent="-171450">
              <a:lnSpc>
                <a:spcPct val="110000"/>
              </a:lnSpc>
              <a:spcBef>
                <a:spcPts val="0"/>
              </a:spcBef>
              <a:buFont typeface="Lucida Grande"/>
              <a:buChar char="●"/>
              <a:defRPr sz="1150" b="0" kern="0" spc="-30"/>
            </a:lvl3pPr>
            <a:lvl4pPr marL="0" lvl="3" indent="0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/>
              <a:buNone/>
              <a:defRPr sz="3400" kern="0" spc="-30">
                <a:solidFill>
                  <a:srgbClr val="000000"/>
                </a:solidFill>
              </a:defRPr>
            </a:lvl4pPr>
            <a:lvl5pPr marL="0" lvl="4" indent="0">
              <a:spcBef>
                <a:spcPts val="0"/>
              </a:spcBef>
              <a:buFont typeface="Arial"/>
              <a:buNone/>
              <a:defRPr sz="1150" kern="0" spc="-30">
                <a:solidFill>
                  <a:srgbClr val="000000"/>
                </a:solidFill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lvl="2" indent="0">
              <a:lnSpc>
                <a:spcPct val="100000"/>
              </a:lnSpc>
              <a:spcBef>
                <a:spcPts val="33"/>
              </a:spcBef>
              <a:buNone/>
            </a:pPr>
            <a:r>
              <a:rPr lang="en-US" sz="1700" b="1" dirty="0">
                <a:solidFill>
                  <a:schemeClr val="tx2"/>
                </a:solidFill>
              </a:rPr>
              <a:t>Examples</a:t>
            </a:r>
          </a:p>
        </p:txBody>
      </p: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F5F51D65-BBC4-4A11-9BD5-CCEFBD20572D}"/>
              </a:ext>
            </a:extLst>
          </p:cNvPr>
          <p:cNvCxnSpPr>
            <a:cxnSpLocks/>
          </p:cNvCxnSpPr>
          <p:nvPr/>
        </p:nvCxnSpPr>
        <p:spPr>
          <a:xfrm>
            <a:off x="7619131" y="1023340"/>
            <a:ext cx="4031519" cy="0"/>
          </a:xfrm>
          <a:prstGeom prst="line">
            <a:avLst/>
          </a:prstGeom>
          <a:ln w="9525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6" name="Freeform: Shape 85">
            <a:extLst>
              <a:ext uri="{FF2B5EF4-FFF2-40B4-BE49-F238E27FC236}">
                <a16:creationId xmlns:a16="http://schemas.microsoft.com/office/drawing/2014/main" id="{329F0CA4-345A-4472-AF91-A9214011F810}"/>
              </a:ext>
            </a:extLst>
          </p:cNvPr>
          <p:cNvSpPr/>
          <p:nvPr/>
        </p:nvSpPr>
        <p:spPr>
          <a:xfrm flipV="1">
            <a:off x="2151283" y="4191147"/>
            <a:ext cx="2200465" cy="512323"/>
          </a:xfrm>
          <a:custGeom>
            <a:avLst/>
            <a:gdLst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388533 w 1591733"/>
              <a:gd name="connsiteY2" fmla="*/ 423333 h 702733"/>
              <a:gd name="connsiteX3" fmla="*/ 1591733 w 1591733"/>
              <a:gd name="connsiteY3" fmla="*/ 0 h 702733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733 h 702746"/>
              <a:gd name="connsiteX1" fmla="*/ 1007533 w 1591733"/>
              <a:gd name="connsiteY1" fmla="*/ 702733 h 702746"/>
              <a:gd name="connsiteX2" fmla="*/ 1229783 w 1591733"/>
              <a:gd name="connsiteY2" fmla="*/ 306916 h 702746"/>
              <a:gd name="connsiteX3" fmla="*/ 1591733 w 1591733"/>
              <a:gd name="connsiteY3" fmla="*/ 0 h 702746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858 h 702858"/>
              <a:gd name="connsiteX1" fmla="*/ 1007533 w 1591733"/>
              <a:gd name="connsiteY1" fmla="*/ 702858 h 702858"/>
              <a:gd name="connsiteX2" fmla="*/ 1229783 w 1591733"/>
              <a:gd name="connsiteY2" fmla="*/ 307041 h 702858"/>
              <a:gd name="connsiteX3" fmla="*/ 1591733 w 1591733"/>
              <a:gd name="connsiteY3" fmla="*/ 125 h 702858"/>
              <a:gd name="connsiteX0" fmla="*/ 0 w 1591733"/>
              <a:gd name="connsiteY0" fmla="*/ 702762 h 702762"/>
              <a:gd name="connsiteX1" fmla="*/ 1007533 w 1591733"/>
              <a:gd name="connsiteY1" fmla="*/ 702762 h 702762"/>
              <a:gd name="connsiteX2" fmla="*/ 1229783 w 1591733"/>
              <a:gd name="connsiteY2" fmla="*/ 306945 h 702762"/>
              <a:gd name="connsiteX3" fmla="*/ 1591733 w 1591733"/>
              <a:gd name="connsiteY3" fmla="*/ 29 h 702762"/>
              <a:gd name="connsiteX0" fmla="*/ 0 w 1591733"/>
              <a:gd name="connsiteY0" fmla="*/ 702749 h 702749"/>
              <a:gd name="connsiteX1" fmla="*/ 1007533 w 1591733"/>
              <a:gd name="connsiteY1" fmla="*/ 702749 h 702749"/>
              <a:gd name="connsiteX2" fmla="*/ 1226608 w 1591733"/>
              <a:gd name="connsiteY2" fmla="*/ 342657 h 702749"/>
              <a:gd name="connsiteX3" fmla="*/ 1591733 w 1591733"/>
              <a:gd name="connsiteY3" fmla="*/ 16 h 702749"/>
              <a:gd name="connsiteX0" fmla="*/ 0 w 1591733"/>
              <a:gd name="connsiteY0" fmla="*/ 702748 h 702748"/>
              <a:gd name="connsiteX1" fmla="*/ 1007533 w 1591733"/>
              <a:gd name="connsiteY1" fmla="*/ 702748 h 702748"/>
              <a:gd name="connsiteX2" fmla="*/ 1226608 w 1591733"/>
              <a:gd name="connsiteY2" fmla="*/ 342656 h 702748"/>
              <a:gd name="connsiteX3" fmla="*/ 1591733 w 1591733"/>
              <a:gd name="connsiteY3" fmla="*/ 15 h 702748"/>
              <a:gd name="connsiteX0" fmla="*/ 0 w 1591733"/>
              <a:gd name="connsiteY0" fmla="*/ 702893 h 702893"/>
              <a:gd name="connsiteX1" fmla="*/ 1007533 w 1591733"/>
              <a:gd name="connsiteY1" fmla="*/ 702893 h 702893"/>
              <a:gd name="connsiteX2" fmla="*/ 1226608 w 1591733"/>
              <a:gd name="connsiteY2" fmla="*/ 342801 h 702893"/>
              <a:gd name="connsiteX3" fmla="*/ 1591733 w 1591733"/>
              <a:gd name="connsiteY3" fmla="*/ 160 h 702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1733" h="702893">
                <a:moveTo>
                  <a:pt x="0" y="702893"/>
                </a:moveTo>
                <a:lnTo>
                  <a:pt x="1007533" y="702893"/>
                </a:lnTo>
                <a:cubicBezTo>
                  <a:pt x="1143176" y="702917"/>
                  <a:pt x="1225136" y="688847"/>
                  <a:pt x="1226608" y="342801"/>
                </a:cubicBezTo>
                <a:cubicBezTo>
                  <a:pt x="1228080" y="-3245"/>
                  <a:pt x="1430337" y="-1088"/>
                  <a:pt x="1591733" y="160"/>
                </a:cubicBezTo>
              </a:path>
            </a:pathLst>
          </a:custGeom>
          <a:noFill/>
          <a:ln w="19050">
            <a:solidFill>
              <a:schemeClr val="accent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0" dirty="0"/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A81567D5-AF29-4025-8216-85F334ABC5DB}"/>
              </a:ext>
            </a:extLst>
          </p:cNvPr>
          <p:cNvSpPr/>
          <p:nvPr/>
        </p:nvSpPr>
        <p:spPr>
          <a:xfrm flipV="1">
            <a:off x="2151283" y="5076451"/>
            <a:ext cx="1789051" cy="831140"/>
          </a:xfrm>
          <a:custGeom>
            <a:avLst/>
            <a:gdLst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388533 w 1591733"/>
              <a:gd name="connsiteY2" fmla="*/ 423333 h 702733"/>
              <a:gd name="connsiteX3" fmla="*/ 1591733 w 1591733"/>
              <a:gd name="connsiteY3" fmla="*/ 0 h 702733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733 h 702746"/>
              <a:gd name="connsiteX1" fmla="*/ 1007533 w 1591733"/>
              <a:gd name="connsiteY1" fmla="*/ 702733 h 702746"/>
              <a:gd name="connsiteX2" fmla="*/ 1229783 w 1591733"/>
              <a:gd name="connsiteY2" fmla="*/ 306916 h 702746"/>
              <a:gd name="connsiteX3" fmla="*/ 1591733 w 1591733"/>
              <a:gd name="connsiteY3" fmla="*/ 0 h 702746"/>
              <a:gd name="connsiteX0" fmla="*/ 0 w 1591733"/>
              <a:gd name="connsiteY0" fmla="*/ 702733 h 702733"/>
              <a:gd name="connsiteX1" fmla="*/ 1007533 w 1591733"/>
              <a:gd name="connsiteY1" fmla="*/ 702733 h 702733"/>
              <a:gd name="connsiteX2" fmla="*/ 1229783 w 1591733"/>
              <a:gd name="connsiteY2" fmla="*/ 306916 h 702733"/>
              <a:gd name="connsiteX3" fmla="*/ 1591733 w 1591733"/>
              <a:gd name="connsiteY3" fmla="*/ 0 h 702733"/>
              <a:gd name="connsiteX0" fmla="*/ 0 w 1591733"/>
              <a:gd name="connsiteY0" fmla="*/ 702858 h 702858"/>
              <a:gd name="connsiteX1" fmla="*/ 1007533 w 1591733"/>
              <a:gd name="connsiteY1" fmla="*/ 702858 h 702858"/>
              <a:gd name="connsiteX2" fmla="*/ 1229783 w 1591733"/>
              <a:gd name="connsiteY2" fmla="*/ 307041 h 702858"/>
              <a:gd name="connsiteX3" fmla="*/ 1591733 w 1591733"/>
              <a:gd name="connsiteY3" fmla="*/ 125 h 702858"/>
              <a:gd name="connsiteX0" fmla="*/ 0 w 1591733"/>
              <a:gd name="connsiteY0" fmla="*/ 702762 h 702762"/>
              <a:gd name="connsiteX1" fmla="*/ 1007533 w 1591733"/>
              <a:gd name="connsiteY1" fmla="*/ 702762 h 702762"/>
              <a:gd name="connsiteX2" fmla="*/ 1229783 w 1591733"/>
              <a:gd name="connsiteY2" fmla="*/ 306945 h 702762"/>
              <a:gd name="connsiteX3" fmla="*/ 1591733 w 1591733"/>
              <a:gd name="connsiteY3" fmla="*/ 29 h 702762"/>
              <a:gd name="connsiteX0" fmla="*/ 0 w 1591733"/>
              <a:gd name="connsiteY0" fmla="*/ 702749 h 702749"/>
              <a:gd name="connsiteX1" fmla="*/ 1007533 w 1591733"/>
              <a:gd name="connsiteY1" fmla="*/ 702749 h 702749"/>
              <a:gd name="connsiteX2" fmla="*/ 1226608 w 1591733"/>
              <a:gd name="connsiteY2" fmla="*/ 342657 h 702749"/>
              <a:gd name="connsiteX3" fmla="*/ 1591733 w 1591733"/>
              <a:gd name="connsiteY3" fmla="*/ 16 h 702749"/>
              <a:gd name="connsiteX0" fmla="*/ 0 w 1591733"/>
              <a:gd name="connsiteY0" fmla="*/ 702748 h 702748"/>
              <a:gd name="connsiteX1" fmla="*/ 1007533 w 1591733"/>
              <a:gd name="connsiteY1" fmla="*/ 702748 h 702748"/>
              <a:gd name="connsiteX2" fmla="*/ 1226608 w 1591733"/>
              <a:gd name="connsiteY2" fmla="*/ 342656 h 702748"/>
              <a:gd name="connsiteX3" fmla="*/ 1591733 w 1591733"/>
              <a:gd name="connsiteY3" fmla="*/ 15 h 702748"/>
              <a:gd name="connsiteX0" fmla="*/ 0 w 1591733"/>
              <a:gd name="connsiteY0" fmla="*/ 703091 h 703091"/>
              <a:gd name="connsiteX1" fmla="*/ 1007533 w 1591733"/>
              <a:gd name="connsiteY1" fmla="*/ 703091 h 703091"/>
              <a:gd name="connsiteX2" fmla="*/ 1226608 w 1591733"/>
              <a:gd name="connsiteY2" fmla="*/ 342999 h 703091"/>
              <a:gd name="connsiteX3" fmla="*/ 1591733 w 1591733"/>
              <a:gd name="connsiteY3" fmla="*/ 358 h 703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1733" h="703091">
                <a:moveTo>
                  <a:pt x="0" y="703091"/>
                </a:moveTo>
                <a:lnTo>
                  <a:pt x="1007533" y="703091"/>
                </a:lnTo>
                <a:cubicBezTo>
                  <a:pt x="1143176" y="703115"/>
                  <a:pt x="1222903" y="700347"/>
                  <a:pt x="1226608" y="342999"/>
                </a:cubicBezTo>
                <a:cubicBezTo>
                  <a:pt x="1230313" y="-14349"/>
                  <a:pt x="1430337" y="-890"/>
                  <a:pt x="1591733" y="358"/>
                </a:cubicBezTo>
              </a:path>
            </a:pathLst>
          </a:custGeom>
          <a:noFill/>
          <a:ln w="19050">
            <a:solidFill>
              <a:srgbClr val="3EA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0" dirty="0"/>
          </a:p>
        </p:txBody>
      </p: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961E8623-9173-4888-AC68-392045BC0647}"/>
              </a:ext>
            </a:extLst>
          </p:cNvPr>
          <p:cNvCxnSpPr>
            <a:cxnSpLocks/>
          </p:cNvCxnSpPr>
          <p:nvPr/>
        </p:nvCxnSpPr>
        <p:spPr>
          <a:xfrm flipV="1">
            <a:off x="2151284" y="4987337"/>
            <a:ext cx="1333600" cy="0"/>
          </a:xfrm>
          <a:prstGeom prst="line">
            <a:avLst/>
          </a:prstGeom>
          <a:ln w="19050">
            <a:solidFill>
              <a:schemeClr val="accent1">
                <a:lumMod val="90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7C93CC9B-3BA2-4959-A021-FF234EA22DC5}"/>
              </a:ext>
            </a:extLst>
          </p:cNvPr>
          <p:cNvCxnSpPr>
            <a:cxnSpLocks/>
          </p:cNvCxnSpPr>
          <p:nvPr/>
        </p:nvCxnSpPr>
        <p:spPr>
          <a:xfrm flipV="1">
            <a:off x="2151284" y="4886746"/>
            <a:ext cx="1169508" cy="0"/>
          </a:xfrm>
          <a:prstGeom prst="line">
            <a:avLst/>
          </a:prstGeom>
          <a:ln w="19050">
            <a:solidFill>
              <a:schemeClr val="accent2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586B2DEF-2176-441D-B3BE-349C8D694F62}"/>
              </a:ext>
            </a:extLst>
          </p:cNvPr>
          <p:cNvCxnSpPr>
            <a:cxnSpLocks/>
          </p:cNvCxnSpPr>
          <p:nvPr/>
        </p:nvCxnSpPr>
        <p:spPr>
          <a:xfrm flipV="1">
            <a:off x="2151284" y="4786158"/>
            <a:ext cx="1613141" cy="0"/>
          </a:xfrm>
          <a:prstGeom prst="line">
            <a:avLst/>
          </a:prstGeom>
          <a:ln w="19050">
            <a:solidFill>
              <a:srgbClr val="3EA5FF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96EDE8ED-364A-42EE-BD00-FBAA6747B0B5}"/>
              </a:ext>
            </a:extLst>
          </p:cNvPr>
          <p:cNvCxnSpPr>
            <a:cxnSpLocks/>
          </p:cNvCxnSpPr>
          <p:nvPr/>
        </p:nvCxnSpPr>
        <p:spPr>
          <a:xfrm flipV="1">
            <a:off x="2151284" y="4685570"/>
            <a:ext cx="1517889" cy="0"/>
          </a:xfrm>
          <a:prstGeom prst="line">
            <a:avLst/>
          </a:prstGeom>
          <a:ln w="19050">
            <a:solidFill>
              <a:schemeClr val="accent2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E71FC3E7-71C2-45DC-8FD8-D62ECA5A7F05}"/>
              </a:ext>
            </a:extLst>
          </p:cNvPr>
          <p:cNvCxnSpPr>
            <a:cxnSpLocks/>
          </p:cNvCxnSpPr>
          <p:nvPr/>
        </p:nvCxnSpPr>
        <p:spPr>
          <a:xfrm flipV="1">
            <a:off x="2151284" y="4584982"/>
            <a:ext cx="1559543" cy="0"/>
          </a:xfrm>
          <a:prstGeom prst="line">
            <a:avLst/>
          </a:prstGeom>
          <a:ln w="19050">
            <a:solidFill>
              <a:srgbClr val="3EA5FF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D217CE40-FC40-4415-AEA5-51D22E404BA9}"/>
              </a:ext>
            </a:extLst>
          </p:cNvPr>
          <p:cNvCxnSpPr>
            <a:cxnSpLocks/>
          </p:cNvCxnSpPr>
          <p:nvPr/>
        </p:nvCxnSpPr>
        <p:spPr>
          <a:xfrm flipV="1">
            <a:off x="2151284" y="4283218"/>
            <a:ext cx="1517889" cy="0"/>
          </a:xfrm>
          <a:prstGeom prst="line">
            <a:avLst/>
          </a:prstGeom>
          <a:ln w="19050">
            <a:solidFill>
              <a:schemeClr val="accent1">
                <a:lumMod val="90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7332B366-2951-4AAC-81A6-638F4B3E9706}"/>
              </a:ext>
            </a:extLst>
          </p:cNvPr>
          <p:cNvCxnSpPr>
            <a:cxnSpLocks/>
          </p:cNvCxnSpPr>
          <p:nvPr/>
        </p:nvCxnSpPr>
        <p:spPr>
          <a:xfrm flipV="1">
            <a:off x="2151284" y="3919762"/>
            <a:ext cx="1333600" cy="0"/>
          </a:xfrm>
          <a:prstGeom prst="line">
            <a:avLst/>
          </a:prstGeom>
          <a:ln w="19050">
            <a:solidFill>
              <a:srgbClr val="3EA5FF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id="{86FF5FAB-8096-4241-987E-EB13139428A3}"/>
              </a:ext>
            </a:extLst>
          </p:cNvPr>
          <p:cNvCxnSpPr>
            <a:cxnSpLocks/>
          </p:cNvCxnSpPr>
          <p:nvPr/>
        </p:nvCxnSpPr>
        <p:spPr>
          <a:xfrm flipV="1">
            <a:off x="2151284" y="4383806"/>
            <a:ext cx="1169508" cy="0"/>
          </a:xfrm>
          <a:prstGeom prst="line">
            <a:avLst/>
          </a:prstGeom>
          <a:ln w="19050">
            <a:solidFill>
              <a:srgbClr val="3EA5FF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23DCEA11-26C0-46D1-A0D3-27125B66A7E0}"/>
              </a:ext>
            </a:extLst>
          </p:cNvPr>
          <p:cNvCxnSpPr>
            <a:cxnSpLocks/>
          </p:cNvCxnSpPr>
          <p:nvPr/>
        </p:nvCxnSpPr>
        <p:spPr>
          <a:xfrm flipV="1">
            <a:off x="2151284" y="4484394"/>
            <a:ext cx="1333600" cy="0"/>
          </a:xfrm>
          <a:prstGeom prst="line">
            <a:avLst/>
          </a:prstGeom>
          <a:ln w="19050">
            <a:solidFill>
              <a:schemeClr val="accent1">
                <a:lumMod val="90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1A3765D-E501-4210-87FA-640D3A380F57}"/>
              </a:ext>
            </a:extLst>
          </p:cNvPr>
          <p:cNvGrpSpPr/>
          <p:nvPr/>
        </p:nvGrpSpPr>
        <p:grpSpPr>
          <a:xfrm>
            <a:off x="3895704" y="4222513"/>
            <a:ext cx="781870" cy="781870"/>
            <a:chOff x="3895704" y="4222513"/>
            <a:chExt cx="781870" cy="781870"/>
          </a:xfrm>
        </p:grpSpPr>
        <p:sp>
          <p:nvSpPr>
            <p:cNvPr id="175" name="Oval 174">
              <a:extLst>
                <a:ext uri="{FF2B5EF4-FFF2-40B4-BE49-F238E27FC236}">
                  <a16:creationId xmlns:a16="http://schemas.microsoft.com/office/drawing/2014/main" id="{04BDFD17-1603-4473-BF85-D52D2C5E9A3B}"/>
                </a:ext>
              </a:extLst>
            </p:cNvPr>
            <p:cNvSpPr/>
            <p:nvPr/>
          </p:nvSpPr>
          <p:spPr>
            <a:xfrm>
              <a:off x="3895704" y="4222513"/>
              <a:ext cx="781870" cy="781870"/>
            </a:xfrm>
            <a:prstGeom prst="ellipse">
              <a:avLst/>
            </a:prstGeom>
            <a:solidFill>
              <a:schemeClr val="accent1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00" dirty="0">
                <a:solidFill>
                  <a:schemeClr val="tx1"/>
                </a:solidFill>
              </a:endParaRPr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B9DB2CD6-4160-4E13-8668-86708C8D2B73}"/>
                </a:ext>
              </a:extLst>
            </p:cNvPr>
            <p:cNvSpPr/>
            <p:nvPr/>
          </p:nvSpPr>
          <p:spPr>
            <a:xfrm>
              <a:off x="3900375" y="4337208"/>
              <a:ext cx="772529" cy="667175"/>
            </a:xfrm>
            <a:custGeom>
              <a:avLst/>
              <a:gdLst>
                <a:gd name="connsiteX0" fmla="*/ 825778 w 1651557"/>
                <a:gd name="connsiteY0" fmla="*/ 0 h 1426325"/>
                <a:gd name="connsiteX1" fmla="*/ 1644561 w 1651557"/>
                <a:gd name="connsiteY1" fmla="*/ 667328 h 1426325"/>
                <a:gd name="connsiteX2" fmla="*/ 1651557 w 1651557"/>
                <a:gd name="connsiteY2" fmla="*/ 713163 h 1426325"/>
                <a:gd name="connsiteX3" fmla="*/ 1644561 w 1651557"/>
                <a:gd name="connsiteY3" fmla="*/ 758998 h 1426325"/>
                <a:gd name="connsiteX4" fmla="*/ 825778 w 1651557"/>
                <a:gd name="connsiteY4" fmla="*/ 1426325 h 1426325"/>
                <a:gd name="connsiteX5" fmla="*/ 6995 w 1651557"/>
                <a:gd name="connsiteY5" fmla="*/ 758998 h 1426325"/>
                <a:gd name="connsiteX6" fmla="*/ 0 w 1651557"/>
                <a:gd name="connsiteY6" fmla="*/ 713163 h 1426325"/>
                <a:gd name="connsiteX7" fmla="*/ 6995 w 1651557"/>
                <a:gd name="connsiteY7" fmla="*/ 667328 h 1426325"/>
                <a:gd name="connsiteX8" fmla="*/ 825778 w 1651557"/>
                <a:gd name="connsiteY8" fmla="*/ 0 h 1426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557" h="1426325">
                  <a:moveTo>
                    <a:pt x="825778" y="0"/>
                  </a:moveTo>
                  <a:cubicBezTo>
                    <a:pt x="1229660" y="0"/>
                    <a:pt x="1566629" y="286485"/>
                    <a:pt x="1644561" y="667328"/>
                  </a:cubicBezTo>
                  <a:lnTo>
                    <a:pt x="1651557" y="713163"/>
                  </a:lnTo>
                  <a:lnTo>
                    <a:pt x="1644561" y="758998"/>
                  </a:lnTo>
                  <a:cubicBezTo>
                    <a:pt x="1566629" y="1139840"/>
                    <a:pt x="1229660" y="1426325"/>
                    <a:pt x="825778" y="1426325"/>
                  </a:cubicBezTo>
                  <a:cubicBezTo>
                    <a:pt x="421896" y="1426325"/>
                    <a:pt x="84927" y="1139840"/>
                    <a:pt x="6995" y="758998"/>
                  </a:cubicBezTo>
                  <a:lnTo>
                    <a:pt x="0" y="713163"/>
                  </a:lnTo>
                  <a:lnTo>
                    <a:pt x="6995" y="667328"/>
                  </a:lnTo>
                  <a:cubicBezTo>
                    <a:pt x="84927" y="286485"/>
                    <a:pt x="421896" y="0"/>
                    <a:pt x="825778" y="0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00" dirty="0">
                <a:solidFill>
                  <a:schemeClr val="tx1"/>
                </a:solidFill>
              </a:endParaRPr>
            </a:p>
          </p:txBody>
        </p:sp>
        <p:grpSp>
          <p:nvGrpSpPr>
            <p:cNvPr id="197" name="Group 196">
              <a:extLst>
                <a:ext uri="{FF2B5EF4-FFF2-40B4-BE49-F238E27FC236}">
                  <a16:creationId xmlns:a16="http://schemas.microsoft.com/office/drawing/2014/main" id="{539CE225-1D09-4D51-9CBD-BE4B52AAB249}"/>
                </a:ext>
              </a:extLst>
            </p:cNvPr>
            <p:cNvGrpSpPr/>
            <p:nvPr/>
          </p:nvGrpSpPr>
          <p:grpSpPr>
            <a:xfrm>
              <a:off x="4047412" y="4441299"/>
              <a:ext cx="478455" cy="486881"/>
              <a:chOff x="1320683" y="5700837"/>
              <a:chExt cx="398458" cy="405480"/>
            </a:xfrm>
            <a:solidFill>
              <a:schemeClr val="bg1"/>
            </a:solidFill>
          </p:grpSpPr>
          <p:sp>
            <p:nvSpPr>
              <p:cNvPr id="198" name="Freeform 31">
                <a:extLst>
                  <a:ext uri="{FF2B5EF4-FFF2-40B4-BE49-F238E27FC236}">
                    <a16:creationId xmlns:a16="http://schemas.microsoft.com/office/drawing/2014/main" id="{7E780D6E-C44E-4162-B8D8-8E6A930A01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8077" y="5841263"/>
                <a:ext cx="93033" cy="265054"/>
              </a:xfrm>
              <a:custGeom>
                <a:avLst/>
                <a:gdLst>
                  <a:gd name="T0" fmla="*/ 54 w 106"/>
                  <a:gd name="T1" fmla="*/ 0 h 301"/>
                  <a:gd name="T2" fmla="*/ 37 w 106"/>
                  <a:gd name="T3" fmla="*/ 2 h 301"/>
                  <a:gd name="T4" fmla="*/ 21 w 106"/>
                  <a:gd name="T5" fmla="*/ 9 h 301"/>
                  <a:gd name="T6" fmla="*/ 10 w 106"/>
                  <a:gd name="T7" fmla="*/ 21 h 301"/>
                  <a:gd name="T8" fmla="*/ 2 w 106"/>
                  <a:gd name="T9" fmla="*/ 36 h 301"/>
                  <a:gd name="T10" fmla="*/ 0 w 106"/>
                  <a:gd name="T11" fmla="*/ 52 h 301"/>
                  <a:gd name="T12" fmla="*/ 2 w 106"/>
                  <a:gd name="T13" fmla="*/ 69 h 301"/>
                  <a:gd name="T14" fmla="*/ 10 w 106"/>
                  <a:gd name="T15" fmla="*/ 85 h 301"/>
                  <a:gd name="T16" fmla="*/ 21 w 106"/>
                  <a:gd name="T17" fmla="*/ 96 h 301"/>
                  <a:gd name="T18" fmla="*/ 37 w 106"/>
                  <a:gd name="T19" fmla="*/ 104 h 301"/>
                  <a:gd name="T20" fmla="*/ 54 w 106"/>
                  <a:gd name="T21" fmla="*/ 106 h 301"/>
                  <a:gd name="T22" fmla="*/ 71 w 106"/>
                  <a:gd name="T23" fmla="*/ 106 h 301"/>
                  <a:gd name="T24" fmla="*/ 71 w 106"/>
                  <a:gd name="T25" fmla="*/ 88 h 301"/>
                  <a:gd name="T26" fmla="*/ 54 w 106"/>
                  <a:gd name="T27" fmla="*/ 88 h 301"/>
                  <a:gd name="T28" fmla="*/ 39 w 106"/>
                  <a:gd name="T29" fmla="*/ 86 h 301"/>
                  <a:gd name="T30" fmla="*/ 28 w 106"/>
                  <a:gd name="T31" fmla="*/ 78 h 301"/>
                  <a:gd name="T32" fmla="*/ 20 w 106"/>
                  <a:gd name="T33" fmla="*/ 67 h 301"/>
                  <a:gd name="T34" fmla="*/ 18 w 106"/>
                  <a:gd name="T35" fmla="*/ 52 h 301"/>
                  <a:gd name="T36" fmla="*/ 20 w 106"/>
                  <a:gd name="T37" fmla="*/ 39 h 301"/>
                  <a:gd name="T38" fmla="*/ 28 w 106"/>
                  <a:gd name="T39" fmla="*/ 27 h 301"/>
                  <a:gd name="T40" fmla="*/ 39 w 106"/>
                  <a:gd name="T41" fmla="*/ 20 h 301"/>
                  <a:gd name="T42" fmla="*/ 54 w 106"/>
                  <a:gd name="T43" fmla="*/ 18 h 301"/>
                  <a:gd name="T44" fmla="*/ 67 w 106"/>
                  <a:gd name="T45" fmla="*/ 20 h 301"/>
                  <a:gd name="T46" fmla="*/ 79 w 106"/>
                  <a:gd name="T47" fmla="*/ 27 h 301"/>
                  <a:gd name="T48" fmla="*/ 86 w 106"/>
                  <a:gd name="T49" fmla="*/ 39 h 301"/>
                  <a:gd name="T50" fmla="*/ 88 w 106"/>
                  <a:gd name="T51" fmla="*/ 52 h 301"/>
                  <a:gd name="T52" fmla="*/ 88 w 106"/>
                  <a:gd name="T53" fmla="*/ 301 h 301"/>
                  <a:gd name="T54" fmla="*/ 106 w 106"/>
                  <a:gd name="T55" fmla="*/ 301 h 301"/>
                  <a:gd name="T56" fmla="*/ 106 w 106"/>
                  <a:gd name="T57" fmla="*/ 52 h 301"/>
                  <a:gd name="T58" fmla="*/ 104 w 106"/>
                  <a:gd name="T59" fmla="*/ 36 h 301"/>
                  <a:gd name="T60" fmla="*/ 97 w 106"/>
                  <a:gd name="T61" fmla="*/ 21 h 301"/>
                  <a:gd name="T62" fmla="*/ 85 w 106"/>
                  <a:gd name="T63" fmla="*/ 9 h 301"/>
                  <a:gd name="T64" fmla="*/ 70 w 106"/>
                  <a:gd name="T65" fmla="*/ 2 h 301"/>
                  <a:gd name="T66" fmla="*/ 54 w 106"/>
                  <a:gd name="T67" fmla="*/ 0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6" h="301">
                    <a:moveTo>
                      <a:pt x="54" y="0"/>
                    </a:moveTo>
                    <a:lnTo>
                      <a:pt x="37" y="2"/>
                    </a:lnTo>
                    <a:lnTo>
                      <a:pt x="21" y="9"/>
                    </a:lnTo>
                    <a:lnTo>
                      <a:pt x="10" y="21"/>
                    </a:lnTo>
                    <a:lnTo>
                      <a:pt x="2" y="36"/>
                    </a:lnTo>
                    <a:lnTo>
                      <a:pt x="0" y="52"/>
                    </a:lnTo>
                    <a:lnTo>
                      <a:pt x="2" y="69"/>
                    </a:lnTo>
                    <a:lnTo>
                      <a:pt x="10" y="85"/>
                    </a:lnTo>
                    <a:lnTo>
                      <a:pt x="21" y="96"/>
                    </a:lnTo>
                    <a:lnTo>
                      <a:pt x="37" y="104"/>
                    </a:lnTo>
                    <a:lnTo>
                      <a:pt x="54" y="106"/>
                    </a:lnTo>
                    <a:lnTo>
                      <a:pt x="71" y="106"/>
                    </a:lnTo>
                    <a:lnTo>
                      <a:pt x="71" y="88"/>
                    </a:lnTo>
                    <a:lnTo>
                      <a:pt x="54" y="88"/>
                    </a:lnTo>
                    <a:lnTo>
                      <a:pt x="39" y="86"/>
                    </a:lnTo>
                    <a:lnTo>
                      <a:pt x="28" y="78"/>
                    </a:lnTo>
                    <a:lnTo>
                      <a:pt x="20" y="67"/>
                    </a:lnTo>
                    <a:lnTo>
                      <a:pt x="18" y="52"/>
                    </a:lnTo>
                    <a:lnTo>
                      <a:pt x="20" y="39"/>
                    </a:lnTo>
                    <a:lnTo>
                      <a:pt x="28" y="27"/>
                    </a:lnTo>
                    <a:lnTo>
                      <a:pt x="39" y="20"/>
                    </a:lnTo>
                    <a:lnTo>
                      <a:pt x="54" y="18"/>
                    </a:lnTo>
                    <a:lnTo>
                      <a:pt x="67" y="20"/>
                    </a:lnTo>
                    <a:lnTo>
                      <a:pt x="79" y="27"/>
                    </a:lnTo>
                    <a:lnTo>
                      <a:pt x="86" y="39"/>
                    </a:lnTo>
                    <a:lnTo>
                      <a:pt x="88" y="52"/>
                    </a:lnTo>
                    <a:lnTo>
                      <a:pt x="88" y="301"/>
                    </a:lnTo>
                    <a:lnTo>
                      <a:pt x="106" y="301"/>
                    </a:lnTo>
                    <a:lnTo>
                      <a:pt x="106" y="52"/>
                    </a:lnTo>
                    <a:lnTo>
                      <a:pt x="104" y="36"/>
                    </a:lnTo>
                    <a:lnTo>
                      <a:pt x="97" y="21"/>
                    </a:lnTo>
                    <a:lnTo>
                      <a:pt x="85" y="9"/>
                    </a:lnTo>
                    <a:lnTo>
                      <a:pt x="70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32">
                <a:extLst>
                  <a:ext uri="{FF2B5EF4-FFF2-40B4-BE49-F238E27FC236}">
                    <a16:creationId xmlns:a16="http://schemas.microsoft.com/office/drawing/2014/main" id="{DC8A126F-2CAF-4CF0-918E-E9709D05AB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0683" y="5793868"/>
                <a:ext cx="187820" cy="312447"/>
              </a:xfrm>
              <a:custGeom>
                <a:avLst/>
                <a:gdLst>
                  <a:gd name="T0" fmla="*/ 107 w 213"/>
                  <a:gd name="T1" fmla="*/ 0 h 355"/>
                  <a:gd name="T2" fmla="*/ 81 w 213"/>
                  <a:gd name="T3" fmla="*/ 4 h 355"/>
                  <a:gd name="T4" fmla="*/ 60 w 213"/>
                  <a:gd name="T5" fmla="*/ 11 h 355"/>
                  <a:gd name="T6" fmla="*/ 39 w 213"/>
                  <a:gd name="T7" fmla="*/ 24 h 355"/>
                  <a:gd name="T8" fmla="*/ 23 w 213"/>
                  <a:gd name="T9" fmla="*/ 41 h 355"/>
                  <a:gd name="T10" fmla="*/ 11 w 213"/>
                  <a:gd name="T11" fmla="*/ 60 h 355"/>
                  <a:gd name="T12" fmla="*/ 2 w 213"/>
                  <a:gd name="T13" fmla="*/ 83 h 355"/>
                  <a:gd name="T14" fmla="*/ 0 w 213"/>
                  <a:gd name="T15" fmla="*/ 106 h 355"/>
                  <a:gd name="T16" fmla="*/ 2 w 213"/>
                  <a:gd name="T17" fmla="*/ 132 h 355"/>
                  <a:gd name="T18" fmla="*/ 11 w 213"/>
                  <a:gd name="T19" fmla="*/ 154 h 355"/>
                  <a:gd name="T20" fmla="*/ 23 w 213"/>
                  <a:gd name="T21" fmla="*/ 174 h 355"/>
                  <a:gd name="T22" fmla="*/ 39 w 213"/>
                  <a:gd name="T23" fmla="*/ 190 h 355"/>
                  <a:gd name="T24" fmla="*/ 60 w 213"/>
                  <a:gd name="T25" fmla="*/ 202 h 355"/>
                  <a:gd name="T26" fmla="*/ 81 w 213"/>
                  <a:gd name="T27" fmla="*/ 211 h 355"/>
                  <a:gd name="T28" fmla="*/ 107 w 213"/>
                  <a:gd name="T29" fmla="*/ 214 h 355"/>
                  <a:gd name="T30" fmla="*/ 124 w 213"/>
                  <a:gd name="T31" fmla="*/ 214 h 355"/>
                  <a:gd name="T32" fmla="*/ 124 w 213"/>
                  <a:gd name="T33" fmla="*/ 196 h 355"/>
                  <a:gd name="T34" fmla="*/ 107 w 213"/>
                  <a:gd name="T35" fmla="*/ 196 h 355"/>
                  <a:gd name="T36" fmla="*/ 83 w 213"/>
                  <a:gd name="T37" fmla="*/ 193 h 355"/>
                  <a:gd name="T38" fmla="*/ 61 w 213"/>
                  <a:gd name="T39" fmla="*/ 184 h 355"/>
                  <a:gd name="T40" fmla="*/ 43 w 213"/>
                  <a:gd name="T41" fmla="*/ 170 h 355"/>
                  <a:gd name="T42" fmla="*/ 30 w 213"/>
                  <a:gd name="T43" fmla="*/ 152 h 355"/>
                  <a:gd name="T44" fmla="*/ 20 w 213"/>
                  <a:gd name="T45" fmla="*/ 130 h 355"/>
                  <a:gd name="T46" fmla="*/ 17 w 213"/>
                  <a:gd name="T47" fmla="*/ 106 h 355"/>
                  <a:gd name="T48" fmla="*/ 20 w 213"/>
                  <a:gd name="T49" fmla="*/ 84 h 355"/>
                  <a:gd name="T50" fmla="*/ 30 w 213"/>
                  <a:gd name="T51" fmla="*/ 62 h 355"/>
                  <a:gd name="T52" fmla="*/ 43 w 213"/>
                  <a:gd name="T53" fmla="*/ 44 h 355"/>
                  <a:gd name="T54" fmla="*/ 61 w 213"/>
                  <a:gd name="T55" fmla="*/ 30 h 355"/>
                  <a:gd name="T56" fmla="*/ 83 w 213"/>
                  <a:gd name="T57" fmla="*/ 22 h 355"/>
                  <a:gd name="T58" fmla="*/ 107 w 213"/>
                  <a:gd name="T59" fmla="*/ 18 h 355"/>
                  <a:gd name="T60" fmla="*/ 129 w 213"/>
                  <a:gd name="T61" fmla="*/ 22 h 355"/>
                  <a:gd name="T62" fmla="*/ 151 w 213"/>
                  <a:gd name="T63" fmla="*/ 30 h 355"/>
                  <a:gd name="T64" fmla="*/ 169 w 213"/>
                  <a:gd name="T65" fmla="*/ 44 h 355"/>
                  <a:gd name="T66" fmla="*/ 183 w 213"/>
                  <a:gd name="T67" fmla="*/ 62 h 355"/>
                  <a:gd name="T68" fmla="*/ 192 w 213"/>
                  <a:gd name="T69" fmla="*/ 84 h 355"/>
                  <a:gd name="T70" fmla="*/ 195 w 213"/>
                  <a:gd name="T71" fmla="*/ 106 h 355"/>
                  <a:gd name="T72" fmla="*/ 195 w 213"/>
                  <a:gd name="T73" fmla="*/ 355 h 355"/>
                  <a:gd name="T74" fmla="*/ 213 w 213"/>
                  <a:gd name="T75" fmla="*/ 355 h 355"/>
                  <a:gd name="T76" fmla="*/ 213 w 213"/>
                  <a:gd name="T77" fmla="*/ 106 h 355"/>
                  <a:gd name="T78" fmla="*/ 211 w 213"/>
                  <a:gd name="T79" fmla="*/ 83 h 355"/>
                  <a:gd name="T80" fmla="*/ 202 w 213"/>
                  <a:gd name="T81" fmla="*/ 60 h 355"/>
                  <a:gd name="T82" fmla="*/ 189 w 213"/>
                  <a:gd name="T83" fmla="*/ 41 h 355"/>
                  <a:gd name="T84" fmla="*/ 174 w 213"/>
                  <a:gd name="T85" fmla="*/ 24 h 355"/>
                  <a:gd name="T86" fmla="*/ 153 w 213"/>
                  <a:gd name="T87" fmla="*/ 11 h 355"/>
                  <a:gd name="T88" fmla="*/ 130 w 213"/>
                  <a:gd name="T89" fmla="*/ 4 h 355"/>
                  <a:gd name="T90" fmla="*/ 107 w 213"/>
                  <a:gd name="T91" fmla="*/ 0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13" h="355">
                    <a:moveTo>
                      <a:pt x="107" y="0"/>
                    </a:moveTo>
                    <a:lnTo>
                      <a:pt x="81" y="4"/>
                    </a:lnTo>
                    <a:lnTo>
                      <a:pt x="60" y="11"/>
                    </a:lnTo>
                    <a:lnTo>
                      <a:pt x="39" y="24"/>
                    </a:lnTo>
                    <a:lnTo>
                      <a:pt x="23" y="41"/>
                    </a:lnTo>
                    <a:lnTo>
                      <a:pt x="11" y="60"/>
                    </a:lnTo>
                    <a:lnTo>
                      <a:pt x="2" y="83"/>
                    </a:lnTo>
                    <a:lnTo>
                      <a:pt x="0" y="106"/>
                    </a:lnTo>
                    <a:lnTo>
                      <a:pt x="2" y="132"/>
                    </a:lnTo>
                    <a:lnTo>
                      <a:pt x="11" y="154"/>
                    </a:lnTo>
                    <a:lnTo>
                      <a:pt x="23" y="174"/>
                    </a:lnTo>
                    <a:lnTo>
                      <a:pt x="39" y="190"/>
                    </a:lnTo>
                    <a:lnTo>
                      <a:pt x="60" y="202"/>
                    </a:lnTo>
                    <a:lnTo>
                      <a:pt x="81" y="211"/>
                    </a:lnTo>
                    <a:lnTo>
                      <a:pt x="107" y="214"/>
                    </a:lnTo>
                    <a:lnTo>
                      <a:pt x="124" y="214"/>
                    </a:lnTo>
                    <a:lnTo>
                      <a:pt x="124" y="196"/>
                    </a:lnTo>
                    <a:lnTo>
                      <a:pt x="107" y="196"/>
                    </a:lnTo>
                    <a:lnTo>
                      <a:pt x="83" y="193"/>
                    </a:lnTo>
                    <a:lnTo>
                      <a:pt x="61" y="184"/>
                    </a:lnTo>
                    <a:lnTo>
                      <a:pt x="43" y="170"/>
                    </a:lnTo>
                    <a:lnTo>
                      <a:pt x="30" y="152"/>
                    </a:lnTo>
                    <a:lnTo>
                      <a:pt x="20" y="130"/>
                    </a:lnTo>
                    <a:lnTo>
                      <a:pt x="17" y="106"/>
                    </a:lnTo>
                    <a:lnTo>
                      <a:pt x="20" y="84"/>
                    </a:lnTo>
                    <a:lnTo>
                      <a:pt x="30" y="62"/>
                    </a:lnTo>
                    <a:lnTo>
                      <a:pt x="43" y="44"/>
                    </a:lnTo>
                    <a:lnTo>
                      <a:pt x="61" y="30"/>
                    </a:lnTo>
                    <a:lnTo>
                      <a:pt x="83" y="22"/>
                    </a:lnTo>
                    <a:lnTo>
                      <a:pt x="107" y="18"/>
                    </a:lnTo>
                    <a:lnTo>
                      <a:pt x="129" y="22"/>
                    </a:lnTo>
                    <a:lnTo>
                      <a:pt x="151" y="30"/>
                    </a:lnTo>
                    <a:lnTo>
                      <a:pt x="169" y="44"/>
                    </a:lnTo>
                    <a:lnTo>
                      <a:pt x="183" y="62"/>
                    </a:lnTo>
                    <a:lnTo>
                      <a:pt x="192" y="84"/>
                    </a:lnTo>
                    <a:lnTo>
                      <a:pt x="195" y="106"/>
                    </a:lnTo>
                    <a:lnTo>
                      <a:pt x="195" y="355"/>
                    </a:lnTo>
                    <a:lnTo>
                      <a:pt x="213" y="355"/>
                    </a:lnTo>
                    <a:lnTo>
                      <a:pt x="213" y="106"/>
                    </a:lnTo>
                    <a:lnTo>
                      <a:pt x="211" y="83"/>
                    </a:lnTo>
                    <a:lnTo>
                      <a:pt x="202" y="60"/>
                    </a:lnTo>
                    <a:lnTo>
                      <a:pt x="189" y="41"/>
                    </a:lnTo>
                    <a:lnTo>
                      <a:pt x="174" y="24"/>
                    </a:lnTo>
                    <a:lnTo>
                      <a:pt x="153" y="11"/>
                    </a:lnTo>
                    <a:lnTo>
                      <a:pt x="130" y="4"/>
                    </a:lnTo>
                    <a:lnTo>
                      <a:pt x="10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33">
                <a:extLst>
                  <a:ext uri="{FF2B5EF4-FFF2-40B4-BE49-F238E27FC236}">
                    <a16:creationId xmlns:a16="http://schemas.microsoft.com/office/drawing/2014/main" id="{E5899CDA-3A2F-4F73-8578-FC564813EA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5682" y="5700837"/>
                <a:ext cx="140425" cy="405480"/>
              </a:xfrm>
              <a:custGeom>
                <a:avLst/>
                <a:gdLst>
                  <a:gd name="T0" fmla="*/ 80 w 159"/>
                  <a:gd name="T1" fmla="*/ 0 h 462"/>
                  <a:gd name="T2" fmla="*/ 0 w 159"/>
                  <a:gd name="T3" fmla="*/ 107 h 462"/>
                  <a:gd name="T4" fmla="*/ 44 w 159"/>
                  <a:gd name="T5" fmla="*/ 107 h 462"/>
                  <a:gd name="T6" fmla="*/ 44 w 159"/>
                  <a:gd name="T7" fmla="*/ 462 h 462"/>
                  <a:gd name="T8" fmla="*/ 62 w 159"/>
                  <a:gd name="T9" fmla="*/ 462 h 462"/>
                  <a:gd name="T10" fmla="*/ 62 w 159"/>
                  <a:gd name="T11" fmla="*/ 89 h 462"/>
                  <a:gd name="T12" fmla="*/ 35 w 159"/>
                  <a:gd name="T13" fmla="*/ 89 h 462"/>
                  <a:gd name="T14" fmla="*/ 80 w 159"/>
                  <a:gd name="T15" fmla="*/ 30 h 462"/>
                  <a:gd name="T16" fmla="*/ 124 w 159"/>
                  <a:gd name="T17" fmla="*/ 89 h 462"/>
                  <a:gd name="T18" fmla="*/ 97 w 159"/>
                  <a:gd name="T19" fmla="*/ 89 h 462"/>
                  <a:gd name="T20" fmla="*/ 97 w 159"/>
                  <a:gd name="T21" fmla="*/ 462 h 462"/>
                  <a:gd name="T22" fmla="*/ 115 w 159"/>
                  <a:gd name="T23" fmla="*/ 462 h 462"/>
                  <a:gd name="T24" fmla="*/ 115 w 159"/>
                  <a:gd name="T25" fmla="*/ 107 h 462"/>
                  <a:gd name="T26" fmla="*/ 159 w 159"/>
                  <a:gd name="T27" fmla="*/ 107 h 462"/>
                  <a:gd name="T28" fmla="*/ 80 w 159"/>
                  <a:gd name="T29" fmla="*/ 0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9" h="462">
                    <a:moveTo>
                      <a:pt x="80" y="0"/>
                    </a:moveTo>
                    <a:lnTo>
                      <a:pt x="0" y="107"/>
                    </a:lnTo>
                    <a:lnTo>
                      <a:pt x="44" y="107"/>
                    </a:lnTo>
                    <a:lnTo>
                      <a:pt x="44" y="462"/>
                    </a:lnTo>
                    <a:lnTo>
                      <a:pt x="62" y="462"/>
                    </a:lnTo>
                    <a:lnTo>
                      <a:pt x="62" y="89"/>
                    </a:lnTo>
                    <a:lnTo>
                      <a:pt x="35" y="89"/>
                    </a:lnTo>
                    <a:lnTo>
                      <a:pt x="80" y="30"/>
                    </a:lnTo>
                    <a:lnTo>
                      <a:pt x="124" y="89"/>
                    </a:lnTo>
                    <a:lnTo>
                      <a:pt x="97" y="89"/>
                    </a:lnTo>
                    <a:lnTo>
                      <a:pt x="97" y="462"/>
                    </a:lnTo>
                    <a:lnTo>
                      <a:pt x="115" y="462"/>
                    </a:lnTo>
                    <a:lnTo>
                      <a:pt x="115" y="107"/>
                    </a:lnTo>
                    <a:lnTo>
                      <a:pt x="159" y="107"/>
                    </a:lnTo>
                    <a:lnTo>
                      <a:pt x="8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34">
                <a:extLst>
                  <a:ext uri="{FF2B5EF4-FFF2-40B4-BE49-F238E27FC236}">
                    <a16:creationId xmlns:a16="http://schemas.microsoft.com/office/drawing/2014/main" id="{D8312199-6868-4715-8E36-B6D368A2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1534" y="5881635"/>
                <a:ext cx="117607" cy="140426"/>
              </a:xfrm>
              <a:custGeom>
                <a:avLst/>
                <a:gdLst>
                  <a:gd name="T0" fmla="*/ 134 w 134"/>
                  <a:gd name="T1" fmla="*/ 80 h 161"/>
                  <a:gd name="T2" fmla="*/ 26 w 134"/>
                  <a:gd name="T3" fmla="*/ 0 h 161"/>
                  <a:gd name="T4" fmla="*/ 26 w 134"/>
                  <a:gd name="T5" fmla="*/ 44 h 161"/>
                  <a:gd name="T6" fmla="*/ 0 w 134"/>
                  <a:gd name="T7" fmla="*/ 44 h 161"/>
                  <a:gd name="T8" fmla="*/ 0 w 134"/>
                  <a:gd name="T9" fmla="*/ 62 h 161"/>
                  <a:gd name="T10" fmla="*/ 44 w 134"/>
                  <a:gd name="T11" fmla="*/ 62 h 161"/>
                  <a:gd name="T12" fmla="*/ 44 w 134"/>
                  <a:gd name="T13" fmla="*/ 36 h 161"/>
                  <a:gd name="T14" fmla="*/ 104 w 134"/>
                  <a:gd name="T15" fmla="*/ 80 h 161"/>
                  <a:gd name="T16" fmla="*/ 44 w 134"/>
                  <a:gd name="T17" fmla="*/ 125 h 161"/>
                  <a:gd name="T18" fmla="*/ 44 w 134"/>
                  <a:gd name="T19" fmla="*/ 98 h 161"/>
                  <a:gd name="T20" fmla="*/ 0 w 134"/>
                  <a:gd name="T21" fmla="*/ 98 h 161"/>
                  <a:gd name="T22" fmla="*/ 0 w 134"/>
                  <a:gd name="T23" fmla="*/ 116 h 161"/>
                  <a:gd name="T24" fmla="*/ 26 w 134"/>
                  <a:gd name="T25" fmla="*/ 116 h 161"/>
                  <a:gd name="T26" fmla="*/ 26 w 134"/>
                  <a:gd name="T27" fmla="*/ 161 h 161"/>
                  <a:gd name="T28" fmla="*/ 134 w 134"/>
                  <a:gd name="T29" fmla="*/ 8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4" h="161">
                    <a:moveTo>
                      <a:pt x="134" y="80"/>
                    </a:moveTo>
                    <a:lnTo>
                      <a:pt x="26" y="0"/>
                    </a:lnTo>
                    <a:lnTo>
                      <a:pt x="26" y="44"/>
                    </a:lnTo>
                    <a:lnTo>
                      <a:pt x="0" y="44"/>
                    </a:lnTo>
                    <a:lnTo>
                      <a:pt x="0" y="62"/>
                    </a:lnTo>
                    <a:lnTo>
                      <a:pt x="44" y="62"/>
                    </a:lnTo>
                    <a:lnTo>
                      <a:pt x="44" y="36"/>
                    </a:lnTo>
                    <a:lnTo>
                      <a:pt x="104" y="80"/>
                    </a:lnTo>
                    <a:lnTo>
                      <a:pt x="44" y="125"/>
                    </a:lnTo>
                    <a:lnTo>
                      <a:pt x="44" y="98"/>
                    </a:lnTo>
                    <a:lnTo>
                      <a:pt x="0" y="98"/>
                    </a:lnTo>
                    <a:lnTo>
                      <a:pt x="0" y="116"/>
                    </a:lnTo>
                    <a:lnTo>
                      <a:pt x="26" y="116"/>
                    </a:lnTo>
                    <a:lnTo>
                      <a:pt x="26" y="161"/>
                    </a:lnTo>
                    <a:lnTo>
                      <a:pt x="134" y="8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1351077-527F-4EC6-AF4A-880987BA4212}"/>
              </a:ext>
            </a:extLst>
          </p:cNvPr>
          <p:cNvGrpSpPr/>
          <p:nvPr/>
        </p:nvGrpSpPr>
        <p:grpSpPr>
          <a:xfrm>
            <a:off x="3895704" y="5477516"/>
            <a:ext cx="781870" cy="781870"/>
            <a:chOff x="3895704" y="5484203"/>
            <a:chExt cx="781870" cy="781870"/>
          </a:xfrm>
        </p:grpSpPr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1B835711-A6C4-496E-92DD-9CC529750718}"/>
                </a:ext>
              </a:extLst>
            </p:cNvPr>
            <p:cNvSpPr/>
            <p:nvPr/>
          </p:nvSpPr>
          <p:spPr>
            <a:xfrm>
              <a:off x="3895704" y="5484203"/>
              <a:ext cx="781870" cy="781870"/>
            </a:xfrm>
            <a:prstGeom prst="ellipse">
              <a:avLst/>
            </a:prstGeom>
            <a:solidFill>
              <a:srgbClr val="3EA5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00" dirty="0">
                <a:solidFill>
                  <a:schemeClr val="tx1"/>
                </a:solidFill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AAABB997-A9A2-4814-B3C0-6ECB933258C7}"/>
                </a:ext>
              </a:extLst>
            </p:cNvPr>
            <p:cNvSpPr/>
            <p:nvPr/>
          </p:nvSpPr>
          <p:spPr>
            <a:xfrm>
              <a:off x="3900375" y="5598898"/>
              <a:ext cx="772529" cy="667175"/>
            </a:xfrm>
            <a:custGeom>
              <a:avLst/>
              <a:gdLst>
                <a:gd name="connsiteX0" fmla="*/ 825778 w 1651557"/>
                <a:gd name="connsiteY0" fmla="*/ 0 h 1426325"/>
                <a:gd name="connsiteX1" fmla="*/ 1644561 w 1651557"/>
                <a:gd name="connsiteY1" fmla="*/ 667328 h 1426325"/>
                <a:gd name="connsiteX2" fmla="*/ 1651557 w 1651557"/>
                <a:gd name="connsiteY2" fmla="*/ 713163 h 1426325"/>
                <a:gd name="connsiteX3" fmla="*/ 1644561 w 1651557"/>
                <a:gd name="connsiteY3" fmla="*/ 758998 h 1426325"/>
                <a:gd name="connsiteX4" fmla="*/ 825778 w 1651557"/>
                <a:gd name="connsiteY4" fmla="*/ 1426325 h 1426325"/>
                <a:gd name="connsiteX5" fmla="*/ 6995 w 1651557"/>
                <a:gd name="connsiteY5" fmla="*/ 758998 h 1426325"/>
                <a:gd name="connsiteX6" fmla="*/ 0 w 1651557"/>
                <a:gd name="connsiteY6" fmla="*/ 713163 h 1426325"/>
                <a:gd name="connsiteX7" fmla="*/ 6995 w 1651557"/>
                <a:gd name="connsiteY7" fmla="*/ 667328 h 1426325"/>
                <a:gd name="connsiteX8" fmla="*/ 825778 w 1651557"/>
                <a:gd name="connsiteY8" fmla="*/ 0 h 1426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557" h="1426325">
                  <a:moveTo>
                    <a:pt x="825778" y="0"/>
                  </a:moveTo>
                  <a:cubicBezTo>
                    <a:pt x="1229660" y="0"/>
                    <a:pt x="1566629" y="286485"/>
                    <a:pt x="1644561" y="667328"/>
                  </a:cubicBezTo>
                  <a:lnTo>
                    <a:pt x="1651557" y="713163"/>
                  </a:lnTo>
                  <a:lnTo>
                    <a:pt x="1644561" y="758998"/>
                  </a:lnTo>
                  <a:cubicBezTo>
                    <a:pt x="1566629" y="1139840"/>
                    <a:pt x="1229660" y="1426325"/>
                    <a:pt x="825778" y="1426325"/>
                  </a:cubicBezTo>
                  <a:cubicBezTo>
                    <a:pt x="421896" y="1426325"/>
                    <a:pt x="84927" y="1139840"/>
                    <a:pt x="6995" y="758998"/>
                  </a:cubicBezTo>
                  <a:lnTo>
                    <a:pt x="0" y="713163"/>
                  </a:lnTo>
                  <a:lnTo>
                    <a:pt x="6995" y="667328"/>
                  </a:lnTo>
                  <a:cubicBezTo>
                    <a:pt x="84927" y="286485"/>
                    <a:pt x="421896" y="0"/>
                    <a:pt x="825778" y="0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00" dirty="0">
                <a:solidFill>
                  <a:schemeClr val="tx1"/>
                </a:solidFill>
              </a:endParaRPr>
            </a:p>
          </p:txBody>
        </p:sp>
        <p:grpSp>
          <p:nvGrpSpPr>
            <p:cNvPr id="202" name="Group 201">
              <a:extLst>
                <a:ext uri="{FF2B5EF4-FFF2-40B4-BE49-F238E27FC236}">
                  <a16:creationId xmlns:a16="http://schemas.microsoft.com/office/drawing/2014/main" id="{34E808B2-2B43-48A4-871E-C12091D2EA54}"/>
                </a:ext>
              </a:extLst>
            </p:cNvPr>
            <p:cNvGrpSpPr/>
            <p:nvPr/>
          </p:nvGrpSpPr>
          <p:grpSpPr>
            <a:xfrm>
              <a:off x="4068094" y="5672673"/>
              <a:ext cx="437090" cy="503527"/>
              <a:chOff x="8137613" y="334762"/>
              <a:chExt cx="466337" cy="537219"/>
            </a:xfrm>
          </p:grpSpPr>
          <p:sp>
            <p:nvSpPr>
              <p:cNvPr id="203" name="Freeform 235">
                <a:extLst>
                  <a:ext uri="{FF2B5EF4-FFF2-40B4-BE49-F238E27FC236}">
                    <a16:creationId xmlns:a16="http://schemas.microsoft.com/office/drawing/2014/main" id="{8B48454D-1C06-4A46-B92E-6DD8E56069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52535" y="444817"/>
                <a:ext cx="285398" cy="415972"/>
              </a:xfrm>
              <a:custGeom>
                <a:avLst/>
                <a:gdLst>
                  <a:gd name="T0" fmla="*/ 447 w 505"/>
                  <a:gd name="T1" fmla="*/ 436 h 740"/>
                  <a:gd name="T2" fmla="*/ 284 w 505"/>
                  <a:gd name="T3" fmla="*/ 359 h 740"/>
                  <a:gd name="T4" fmla="*/ 184 w 505"/>
                  <a:gd name="T5" fmla="*/ 314 h 740"/>
                  <a:gd name="T6" fmla="*/ 156 w 505"/>
                  <a:gd name="T7" fmla="*/ 293 h 740"/>
                  <a:gd name="T8" fmla="*/ 134 w 505"/>
                  <a:gd name="T9" fmla="*/ 278 h 740"/>
                  <a:gd name="T10" fmla="*/ 199 w 505"/>
                  <a:gd name="T11" fmla="*/ 270 h 740"/>
                  <a:gd name="T12" fmla="*/ 289 w 505"/>
                  <a:gd name="T13" fmla="*/ 181 h 740"/>
                  <a:gd name="T14" fmla="*/ 287 w 505"/>
                  <a:gd name="T15" fmla="*/ 146 h 740"/>
                  <a:gd name="T16" fmla="*/ 351 w 505"/>
                  <a:gd name="T17" fmla="*/ 70 h 740"/>
                  <a:gd name="T18" fmla="*/ 283 w 505"/>
                  <a:gd name="T19" fmla="*/ 32 h 740"/>
                  <a:gd name="T20" fmla="*/ 217 w 505"/>
                  <a:gd name="T21" fmla="*/ 45 h 740"/>
                  <a:gd name="T22" fmla="*/ 181 w 505"/>
                  <a:gd name="T23" fmla="*/ 15 h 740"/>
                  <a:gd name="T24" fmla="*/ 144 w 505"/>
                  <a:gd name="T25" fmla="*/ 35 h 740"/>
                  <a:gd name="T26" fmla="*/ 256 w 505"/>
                  <a:gd name="T27" fmla="*/ 66 h 740"/>
                  <a:gd name="T28" fmla="*/ 277 w 505"/>
                  <a:gd name="T29" fmla="*/ 96 h 740"/>
                  <a:gd name="T30" fmla="*/ 247 w 505"/>
                  <a:gd name="T31" fmla="*/ 181 h 740"/>
                  <a:gd name="T32" fmla="*/ 199 w 505"/>
                  <a:gd name="T33" fmla="*/ 225 h 740"/>
                  <a:gd name="T34" fmla="*/ 94 w 505"/>
                  <a:gd name="T35" fmla="*/ 263 h 740"/>
                  <a:gd name="T36" fmla="*/ 78 w 505"/>
                  <a:gd name="T37" fmla="*/ 290 h 740"/>
                  <a:gd name="T38" fmla="*/ 0 w 505"/>
                  <a:gd name="T39" fmla="*/ 241 h 740"/>
                  <a:gd name="T40" fmla="*/ 171 w 505"/>
                  <a:gd name="T41" fmla="*/ 380 h 740"/>
                  <a:gd name="T42" fmla="*/ 205 w 505"/>
                  <a:gd name="T43" fmla="*/ 492 h 740"/>
                  <a:gd name="T44" fmla="*/ 240 w 505"/>
                  <a:gd name="T45" fmla="*/ 570 h 740"/>
                  <a:gd name="T46" fmla="*/ 284 w 505"/>
                  <a:gd name="T47" fmla="*/ 726 h 740"/>
                  <a:gd name="T48" fmla="*/ 321 w 505"/>
                  <a:gd name="T49" fmla="*/ 704 h 740"/>
                  <a:gd name="T50" fmla="*/ 276 w 505"/>
                  <a:gd name="T51" fmla="*/ 546 h 740"/>
                  <a:gd name="T52" fmla="*/ 289 w 505"/>
                  <a:gd name="T53" fmla="*/ 403 h 740"/>
                  <a:gd name="T54" fmla="*/ 380 w 505"/>
                  <a:gd name="T55" fmla="*/ 441 h 740"/>
                  <a:gd name="T56" fmla="*/ 460 w 505"/>
                  <a:gd name="T57" fmla="*/ 503 h 740"/>
                  <a:gd name="T58" fmla="*/ 388 w 505"/>
                  <a:gd name="T59" fmla="*/ 602 h 740"/>
                  <a:gd name="T60" fmla="*/ 348 w 505"/>
                  <a:gd name="T61" fmla="*/ 737 h 740"/>
                  <a:gd name="T62" fmla="*/ 373 w 505"/>
                  <a:gd name="T63" fmla="*/ 719 h 740"/>
                  <a:gd name="T64" fmla="*/ 475 w 505"/>
                  <a:gd name="T65" fmla="*/ 572 h 7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05" h="740">
                    <a:moveTo>
                      <a:pt x="501" y="494"/>
                    </a:moveTo>
                    <a:cubicBezTo>
                      <a:pt x="495" y="465"/>
                      <a:pt x="471" y="450"/>
                      <a:pt x="447" y="436"/>
                    </a:cubicBezTo>
                    <a:cubicBezTo>
                      <a:pt x="433" y="428"/>
                      <a:pt x="420" y="420"/>
                      <a:pt x="410" y="410"/>
                    </a:cubicBezTo>
                    <a:cubicBezTo>
                      <a:pt x="346" y="343"/>
                      <a:pt x="298" y="354"/>
                      <a:pt x="284" y="359"/>
                    </a:cubicBezTo>
                    <a:cubicBezTo>
                      <a:pt x="276" y="361"/>
                      <a:pt x="259" y="365"/>
                      <a:pt x="243" y="380"/>
                    </a:cubicBezTo>
                    <a:cubicBezTo>
                      <a:pt x="225" y="373"/>
                      <a:pt x="184" y="342"/>
                      <a:pt x="184" y="314"/>
                    </a:cubicBezTo>
                    <a:cubicBezTo>
                      <a:pt x="184" y="307"/>
                      <a:pt x="180" y="300"/>
                      <a:pt x="175" y="296"/>
                    </a:cubicBezTo>
                    <a:cubicBezTo>
                      <a:pt x="169" y="292"/>
                      <a:pt x="162" y="291"/>
                      <a:pt x="156" y="293"/>
                    </a:cubicBezTo>
                    <a:cubicBezTo>
                      <a:pt x="146" y="296"/>
                      <a:pt x="138" y="297"/>
                      <a:pt x="135" y="293"/>
                    </a:cubicBezTo>
                    <a:cubicBezTo>
                      <a:pt x="133" y="291"/>
                      <a:pt x="132" y="284"/>
                      <a:pt x="134" y="278"/>
                    </a:cubicBezTo>
                    <a:cubicBezTo>
                      <a:pt x="135" y="275"/>
                      <a:pt x="138" y="270"/>
                      <a:pt x="143" y="270"/>
                    </a:cubicBezTo>
                    <a:cubicBezTo>
                      <a:pt x="148" y="269"/>
                      <a:pt x="180" y="270"/>
                      <a:pt x="199" y="270"/>
                    </a:cubicBezTo>
                    <a:lnTo>
                      <a:pt x="226" y="270"/>
                    </a:lnTo>
                    <a:cubicBezTo>
                      <a:pt x="262" y="270"/>
                      <a:pt x="289" y="211"/>
                      <a:pt x="289" y="181"/>
                    </a:cubicBezTo>
                    <a:cubicBezTo>
                      <a:pt x="289" y="170"/>
                      <a:pt x="288" y="162"/>
                      <a:pt x="288" y="156"/>
                    </a:cubicBezTo>
                    <a:cubicBezTo>
                      <a:pt x="287" y="152"/>
                      <a:pt x="287" y="147"/>
                      <a:pt x="287" y="146"/>
                    </a:cubicBezTo>
                    <a:cubicBezTo>
                      <a:pt x="287" y="145"/>
                      <a:pt x="289" y="142"/>
                      <a:pt x="302" y="132"/>
                    </a:cubicBezTo>
                    <a:cubicBezTo>
                      <a:pt x="343" y="99"/>
                      <a:pt x="356" y="89"/>
                      <a:pt x="351" y="70"/>
                    </a:cubicBezTo>
                    <a:cubicBezTo>
                      <a:pt x="347" y="53"/>
                      <a:pt x="332" y="51"/>
                      <a:pt x="322" y="49"/>
                    </a:cubicBezTo>
                    <a:cubicBezTo>
                      <a:pt x="311" y="47"/>
                      <a:pt x="295" y="44"/>
                      <a:pt x="283" y="32"/>
                    </a:cubicBezTo>
                    <a:cubicBezTo>
                      <a:pt x="270" y="18"/>
                      <a:pt x="255" y="6"/>
                      <a:pt x="239" y="11"/>
                    </a:cubicBezTo>
                    <a:cubicBezTo>
                      <a:pt x="222" y="17"/>
                      <a:pt x="219" y="35"/>
                      <a:pt x="217" y="45"/>
                    </a:cubicBezTo>
                    <a:cubicBezTo>
                      <a:pt x="217" y="46"/>
                      <a:pt x="217" y="47"/>
                      <a:pt x="217" y="47"/>
                    </a:cubicBezTo>
                    <a:cubicBezTo>
                      <a:pt x="203" y="46"/>
                      <a:pt x="194" y="42"/>
                      <a:pt x="181" y="15"/>
                    </a:cubicBezTo>
                    <a:cubicBezTo>
                      <a:pt x="176" y="4"/>
                      <a:pt x="163" y="0"/>
                      <a:pt x="153" y="5"/>
                    </a:cubicBezTo>
                    <a:cubicBezTo>
                      <a:pt x="143" y="11"/>
                      <a:pt x="138" y="24"/>
                      <a:pt x="144" y="35"/>
                    </a:cubicBezTo>
                    <a:cubicBezTo>
                      <a:pt x="168" y="87"/>
                      <a:pt x="197" y="92"/>
                      <a:pt x="226" y="92"/>
                    </a:cubicBezTo>
                    <a:cubicBezTo>
                      <a:pt x="244" y="92"/>
                      <a:pt x="252" y="78"/>
                      <a:pt x="256" y="66"/>
                    </a:cubicBezTo>
                    <a:cubicBezTo>
                      <a:pt x="267" y="76"/>
                      <a:pt x="278" y="83"/>
                      <a:pt x="289" y="86"/>
                    </a:cubicBezTo>
                    <a:cubicBezTo>
                      <a:pt x="284" y="90"/>
                      <a:pt x="280" y="94"/>
                      <a:pt x="277" y="96"/>
                    </a:cubicBezTo>
                    <a:cubicBezTo>
                      <a:pt x="247" y="119"/>
                      <a:pt x="243" y="133"/>
                      <a:pt x="246" y="160"/>
                    </a:cubicBezTo>
                    <a:cubicBezTo>
                      <a:pt x="246" y="165"/>
                      <a:pt x="247" y="172"/>
                      <a:pt x="247" y="181"/>
                    </a:cubicBezTo>
                    <a:cubicBezTo>
                      <a:pt x="247" y="195"/>
                      <a:pt x="232" y="223"/>
                      <a:pt x="226" y="225"/>
                    </a:cubicBezTo>
                    <a:lnTo>
                      <a:pt x="199" y="225"/>
                    </a:lnTo>
                    <a:cubicBezTo>
                      <a:pt x="159" y="225"/>
                      <a:pt x="144" y="225"/>
                      <a:pt x="139" y="225"/>
                    </a:cubicBezTo>
                    <a:cubicBezTo>
                      <a:pt x="119" y="228"/>
                      <a:pt x="102" y="242"/>
                      <a:pt x="94" y="263"/>
                    </a:cubicBezTo>
                    <a:cubicBezTo>
                      <a:pt x="89" y="278"/>
                      <a:pt x="90" y="293"/>
                      <a:pt x="95" y="307"/>
                    </a:cubicBezTo>
                    <a:cubicBezTo>
                      <a:pt x="86" y="300"/>
                      <a:pt x="80" y="294"/>
                      <a:pt x="78" y="290"/>
                    </a:cubicBezTo>
                    <a:cubicBezTo>
                      <a:pt x="76" y="262"/>
                      <a:pt x="44" y="225"/>
                      <a:pt x="30" y="210"/>
                    </a:cubicBezTo>
                    <a:lnTo>
                      <a:pt x="0" y="241"/>
                    </a:lnTo>
                    <a:cubicBezTo>
                      <a:pt x="18" y="260"/>
                      <a:pt x="35" y="284"/>
                      <a:pt x="36" y="292"/>
                    </a:cubicBezTo>
                    <a:cubicBezTo>
                      <a:pt x="36" y="330"/>
                      <a:pt x="107" y="375"/>
                      <a:pt x="171" y="380"/>
                    </a:cubicBezTo>
                    <a:cubicBezTo>
                      <a:pt x="185" y="396"/>
                      <a:pt x="202" y="409"/>
                      <a:pt x="218" y="417"/>
                    </a:cubicBezTo>
                    <a:cubicBezTo>
                      <a:pt x="210" y="435"/>
                      <a:pt x="205" y="460"/>
                      <a:pt x="205" y="492"/>
                    </a:cubicBezTo>
                    <a:cubicBezTo>
                      <a:pt x="205" y="495"/>
                      <a:pt x="205" y="497"/>
                      <a:pt x="206" y="499"/>
                    </a:cubicBezTo>
                    <a:cubicBezTo>
                      <a:pt x="215" y="529"/>
                      <a:pt x="229" y="551"/>
                      <a:pt x="240" y="570"/>
                    </a:cubicBezTo>
                    <a:cubicBezTo>
                      <a:pt x="256" y="595"/>
                      <a:pt x="268" y="615"/>
                      <a:pt x="268" y="648"/>
                    </a:cubicBezTo>
                    <a:cubicBezTo>
                      <a:pt x="268" y="690"/>
                      <a:pt x="276" y="710"/>
                      <a:pt x="284" y="726"/>
                    </a:cubicBezTo>
                    <a:cubicBezTo>
                      <a:pt x="290" y="736"/>
                      <a:pt x="303" y="740"/>
                      <a:pt x="313" y="734"/>
                    </a:cubicBezTo>
                    <a:cubicBezTo>
                      <a:pt x="323" y="728"/>
                      <a:pt x="327" y="714"/>
                      <a:pt x="321" y="704"/>
                    </a:cubicBezTo>
                    <a:cubicBezTo>
                      <a:pt x="317" y="696"/>
                      <a:pt x="310" y="684"/>
                      <a:pt x="310" y="648"/>
                    </a:cubicBezTo>
                    <a:cubicBezTo>
                      <a:pt x="310" y="602"/>
                      <a:pt x="293" y="574"/>
                      <a:pt x="276" y="546"/>
                    </a:cubicBezTo>
                    <a:cubicBezTo>
                      <a:pt x="265" y="529"/>
                      <a:pt x="255" y="512"/>
                      <a:pt x="247" y="489"/>
                    </a:cubicBezTo>
                    <a:cubicBezTo>
                      <a:pt x="248" y="408"/>
                      <a:pt x="285" y="403"/>
                      <a:pt x="289" y="403"/>
                    </a:cubicBezTo>
                    <a:cubicBezTo>
                      <a:pt x="292" y="403"/>
                      <a:pt x="295" y="402"/>
                      <a:pt x="298" y="401"/>
                    </a:cubicBezTo>
                    <a:cubicBezTo>
                      <a:pt x="299" y="401"/>
                      <a:pt x="330" y="388"/>
                      <a:pt x="380" y="441"/>
                    </a:cubicBezTo>
                    <a:cubicBezTo>
                      <a:pt x="394" y="456"/>
                      <a:pt x="411" y="466"/>
                      <a:pt x="426" y="475"/>
                    </a:cubicBezTo>
                    <a:cubicBezTo>
                      <a:pt x="442" y="485"/>
                      <a:pt x="458" y="494"/>
                      <a:pt x="460" y="503"/>
                    </a:cubicBezTo>
                    <a:cubicBezTo>
                      <a:pt x="461" y="508"/>
                      <a:pt x="460" y="520"/>
                      <a:pt x="441" y="546"/>
                    </a:cubicBezTo>
                    <a:cubicBezTo>
                      <a:pt x="418" y="578"/>
                      <a:pt x="401" y="591"/>
                      <a:pt x="388" y="602"/>
                    </a:cubicBezTo>
                    <a:cubicBezTo>
                      <a:pt x="361" y="623"/>
                      <a:pt x="346" y="638"/>
                      <a:pt x="332" y="710"/>
                    </a:cubicBezTo>
                    <a:cubicBezTo>
                      <a:pt x="330" y="722"/>
                      <a:pt x="337" y="734"/>
                      <a:pt x="348" y="737"/>
                    </a:cubicBezTo>
                    <a:cubicBezTo>
                      <a:pt x="350" y="737"/>
                      <a:pt x="351" y="737"/>
                      <a:pt x="353" y="737"/>
                    </a:cubicBezTo>
                    <a:cubicBezTo>
                      <a:pt x="362" y="737"/>
                      <a:pt x="371" y="730"/>
                      <a:pt x="373" y="719"/>
                    </a:cubicBezTo>
                    <a:cubicBezTo>
                      <a:pt x="385" y="660"/>
                      <a:pt x="394" y="653"/>
                      <a:pt x="413" y="637"/>
                    </a:cubicBezTo>
                    <a:cubicBezTo>
                      <a:pt x="428" y="626"/>
                      <a:pt x="448" y="610"/>
                      <a:pt x="475" y="572"/>
                    </a:cubicBezTo>
                    <a:cubicBezTo>
                      <a:pt x="497" y="541"/>
                      <a:pt x="505" y="516"/>
                      <a:pt x="501" y="494"/>
                    </a:cubicBezTo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236">
                <a:extLst>
                  <a:ext uri="{FF2B5EF4-FFF2-40B4-BE49-F238E27FC236}">
                    <a16:creationId xmlns:a16="http://schemas.microsoft.com/office/drawing/2014/main" id="{D6911FAA-DABF-45E1-89B0-F549ED45B7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7613" y="396318"/>
                <a:ext cx="453279" cy="475663"/>
              </a:xfrm>
              <a:custGeom>
                <a:avLst/>
                <a:gdLst>
                  <a:gd name="T0" fmla="*/ 767 w 803"/>
                  <a:gd name="T1" fmla="*/ 249 h 845"/>
                  <a:gd name="T2" fmla="*/ 741 w 803"/>
                  <a:gd name="T3" fmla="*/ 301 h 845"/>
                  <a:gd name="T4" fmla="*/ 761 w 803"/>
                  <a:gd name="T5" fmla="*/ 423 h 845"/>
                  <a:gd name="T6" fmla="*/ 402 w 803"/>
                  <a:gd name="T7" fmla="*/ 801 h 845"/>
                  <a:gd name="T8" fmla="*/ 43 w 803"/>
                  <a:gd name="T9" fmla="*/ 423 h 845"/>
                  <a:gd name="T10" fmla="*/ 402 w 803"/>
                  <a:gd name="T11" fmla="*/ 44 h 845"/>
                  <a:gd name="T12" fmla="*/ 433 w 803"/>
                  <a:gd name="T13" fmla="*/ 46 h 845"/>
                  <a:gd name="T14" fmla="*/ 453 w 803"/>
                  <a:gd name="T15" fmla="*/ 4 h 845"/>
                  <a:gd name="T16" fmla="*/ 402 w 803"/>
                  <a:gd name="T17" fmla="*/ 0 h 845"/>
                  <a:gd name="T18" fmla="*/ 0 w 803"/>
                  <a:gd name="T19" fmla="*/ 423 h 845"/>
                  <a:gd name="T20" fmla="*/ 402 w 803"/>
                  <a:gd name="T21" fmla="*/ 845 h 845"/>
                  <a:gd name="T22" fmla="*/ 803 w 803"/>
                  <a:gd name="T23" fmla="*/ 423 h 845"/>
                  <a:gd name="T24" fmla="*/ 767 w 803"/>
                  <a:gd name="T25" fmla="*/ 249 h 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03" h="845">
                    <a:moveTo>
                      <a:pt x="767" y="249"/>
                    </a:moveTo>
                    <a:cubicBezTo>
                      <a:pt x="759" y="266"/>
                      <a:pt x="751" y="284"/>
                      <a:pt x="741" y="301"/>
                    </a:cubicBezTo>
                    <a:cubicBezTo>
                      <a:pt x="754" y="339"/>
                      <a:pt x="761" y="380"/>
                      <a:pt x="761" y="423"/>
                    </a:cubicBezTo>
                    <a:cubicBezTo>
                      <a:pt x="761" y="631"/>
                      <a:pt x="600" y="801"/>
                      <a:pt x="402" y="801"/>
                    </a:cubicBezTo>
                    <a:cubicBezTo>
                      <a:pt x="204" y="801"/>
                      <a:pt x="43" y="631"/>
                      <a:pt x="43" y="423"/>
                    </a:cubicBezTo>
                    <a:cubicBezTo>
                      <a:pt x="43" y="214"/>
                      <a:pt x="204" y="44"/>
                      <a:pt x="402" y="44"/>
                    </a:cubicBezTo>
                    <a:cubicBezTo>
                      <a:pt x="412" y="44"/>
                      <a:pt x="423" y="45"/>
                      <a:pt x="433" y="46"/>
                    </a:cubicBezTo>
                    <a:cubicBezTo>
                      <a:pt x="438" y="31"/>
                      <a:pt x="445" y="17"/>
                      <a:pt x="453" y="4"/>
                    </a:cubicBezTo>
                    <a:cubicBezTo>
                      <a:pt x="436" y="1"/>
                      <a:pt x="419" y="0"/>
                      <a:pt x="402" y="0"/>
                    </a:cubicBezTo>
                    <a:cubicBezTo>
                      <a:pt x="180" y="0"/>
                      <a:pt x="0" y="189"/>
                      <a:pt x="0" y="423"/>
                    </a:cubicBezTo>
                    <a:cubicBezTo>
                      <a:pt x="0" y="656"/>
                      <a:pt x="180" y="845"/>
                      <a:pt x="402" y="845"/>
                    </a:cubicBezTo>
                    <a:cubicBezTo>
                      <a:pt x="623" y="845"/>
                      <a:pt x="803" y="656"/>
                      <a:pt x="803" y="423"/>
                    </a:cubicBezTo>
                    <a:cubicBezTo>
                      <a:pt x="803" y="361"/>
                      <a:pt x="790" y="302"/>
                      <a:pt x="767" y="249"/>
                    </a:cubicBezTo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237">
                <a:extLst>
                  <a:ext uri="{FF2B5EF4-FFF2-40B4-BE49-F238E27FC236}">
                    <a16:creationId xmlns:a16="http://schemas.microsoft.com/office/drawing/2014/main" id="{F8A9402C-60FC-4632-A8D8-8B4A203D70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63320" y="334762"/>
                <a:ext cx="240630" cy="350684"/>
              </a:xfrm>
              <a:custGeom>
                <a:avLst/>
                <a:gdLst>
                  <a:gd name="T0" fmla="*/ 212 w 423"/>
                  <a:gd name="T1" fmla="*/ 623 h 623"/>
                  <a:gd name="T2" fmla="*/ 196 w 423"/>
                  <a:gd name="T3" fmla="*/ 615 h 623"/>
                  <a:gd name="T4" fmla="*/ 0 w 423"/>
                  <a:gd name="T5" fmla="*/ 222 h 623"/>
                  <a:gd name="T6" fmla="*/ 212 w 423"/>
                  <a:gd name="T7" fmla="*/ 0 h 623"/>
                  <a:gd name="T8" fmla="*/ 423 w 423"/>
                  <a:gd name="T9" fmla="*/ 222 h 623"/>
                  <a:gd name="T10" fmla="*/ 227 w 423"/>
                  <a:gd name="T11" fmla="*/ 615 h 623"/>
                  <a:gd name="T12" fmla="*/ 212 w 423"/>
                  <a:gd name="T13" fmla="*/ 623 h 623"/>
                  <a:gd name="T14" fmla="*/ 212 w 423"/>
                  <a:gd name="T15" fmla="*/ 44 h 623"/>
                  <a:gd name="T16" fmla="*/ 43 w 423"/>
                  <a:gd name="T17" fmla="*/ 222 h 623"/>
                  <a:gd name="T18" fmla="*/ 212 w 423"/>
                  <a:gd name="T19" fmla="*/ 566 h 623"/>
                  <a:gd name="T20" fmla="*/ 381 w 423"/>
                  <a:gd name="T21" fmla="*/ 222 h 623"/>
                  <a:gd name="T22" fmla="*/ 212 w 423"/>
                  <a:gd name="T23" fmla="*/ 44 h 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23" h="623">
                    <a:moveTo>
                      <a:pt x="212" y="623"/>
                    </a:moveTo>
                    <a:cubicBezTo>
                      <a:pt x="206" y="623"/>
                      <a:pt x="200" y="620"/>
                      <a:pt x="196" y="615"/>
                    </a:cubicBezTo>
                    <a:cubicBezTo>
                      <a:pt x="188" y="606"/>
                      <a:pt x="0" y="382"/>
                      <a:pt x="0" y="222"/>
                    </a:cubicBezTo>
                    <a:cubicBezTo>
                      <a:pt x="0" y="99"/>
                      <a:pt x="95" y="0"/>
                      <a:pt x="212" y="0"/>
                    </a:cubicBezTo>
                    <a:cubicBezTo>
                      <a:pt x="328" y="0"/>
                      <a:pt x="423" y="99"/>
                      <a:pt x="423" y="222"/>
                    </a:cubicBezTo>
                    <a:cubicBezTo>
                      <a:pt x="423" y="382"/>
                      <a:pt x="235" y="606"/>
                      <a:pt x="227" y="615"/>
                    </a:cubicBezTo>
                    <a:cubicBezTo>
                      <a:pt x="223" y="620"/>
                      <a:pt x="218" y="623"/>
                      <a:pt x="212" y="623"/>
                    </a:cubicBezTo>
                    <a:close/>
                    <a:moveTo>
                      <a:pt x="212" y="44"/>
                    </a:moveTo>
                    <a:cubicBezTo>
                      <a:pt x="119" y="44"/>
                      <a:pt x="43" y="124"/>
                      <a:pt x="43" y="222"/>
                    </a:cubicBezTo>
                    <a:cubicBezTo>
                      <a:pt x="43" y="340"/>
                      <a:pt x="167" y="509"/>
                      <a:pt x="212" y="566"/>
                    </a:cubicBezTo>
                    <a:cubicBezTo>
                      <a:pt x="256" y="509"/>
                      <a:pt x="381" y="340"/>
                      <a:pt x="381" y="222"/>
                    </a:cubicBezTo>
                    <a:cubicBezTo>
                      <a:pt x="381" y="124"/>
                      <a:pt x="305" y="44"/>
                      <a:pt x="212" y="44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Freeform 238">
                <a:extLst>
                  <a:ext uri="{FF2B5EF4-FFF2-40B4-BE49-F238E27FC236}">
                    <a16:creationId xmlns:a16="http://schemas.microsoft.com/office/drawing/2014/main" id="{9456F5D7-5094-49C0-85E1-2D68F096B7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36067" y="409376"/>
                <a:ext cx="95133" cy="98864"/>
              </a:xfrm>
              <a:custGeom>
                <a:avLst/>
                <a:gdLst>
                  <a:gd name="T0" fmla="*/ 85 w 169"/>
                  <a:gd name="T1" fmla="*/ 178 h 178"/>
                  <a:gd name="T2" fmla="*/ 0 w 169"/>
                  <a:gd name="T3" fmla="*/ 89 h 178"/>
                  <a:gd name="T4" fmla="*/ 85 w 169"/>
                  <a:gd name="T5" fmla="*/ 0 h 178"/>
                  <a:gd name="T6" fmla="*/ 169 w 169"/>
                  <a:gd name="T7" fmla="*/ 89 h 178"/>
                  <a:gd name="T8" fmla="*/ 85 w 169"/>
                  <a:gd name="T9" fmla="*/ 178 h 178"/>
                  <a:gd name="T10" fmla="*/ 85 w 169"/>
                  <a:gd name="T11" fmla="*/ 45 h 178"/>
                  <a:gd name="T12" fmla="*/ 42 w 169"/>
                  <a:gd name="T13" fmla="*/ 89 h 178"/>
                  <a:gd name="T14" fmla="*/ 85 w 169"/>
                  <a:gd name="T15" fmla="*/ 134 h 178"/>
                  <a:gd name="T16" fmla="*/ 127 w 169"/>
                  <a:gd name="T17" fmla="*/ 89 h 178"/>
                  <a:gd name="T18" fmla="*/ 85 w 169"/>
                  <a:gd name="T19" fmla="*/ 45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9" h="178">
                    <a:moveTo>
                      <a:pt x="85" y="178"/>
                    </a:moveTo>
                    <a:cubicBezTo>
                      <a:pt x="38" y="178"/>
                      <a:pt x="0" y="138"/>
                      <a:pt x="0" y="89"/>
                    </a:cubicBezTo>
                    <a:cubicBezTo>
                      <a:pt x="0" y="40"/>
                      <a:pt x="38" y="0"/>
                      <a:pt x="85" y="0"/>
                    </a:cubicBezTo>
                    <a:cubicBezTo>
                      <a:pt x="131" y="0"/>
                      <a:pt x="169" y="40"/>
                      <a:pt x="169" y="89"/>
                    </a:cubicBezTo>
                    <a:cubicBezTo>
                      <a:pt x="169" y="138"/>
                      <a:pt x="131" y="178"/>
                      <a:pt x="85" y="178"/>
                    </a:cubicBezTo>
                    <a:close/>
                    <a:moveTo>
                      <a:pt x="85" y="45"/>
                    </a:moveTo>
                    <a:cubicBezTo>
                      <a:pt x="61" y="45"/>
                      <a:pt x="42" y="64"/>
                      <a:pt x="42" y="89"/>
                    </a:cubicBezTo>
                    <a:cubicBezTo>
                      <a:pt x="42" y="114"/>
                      <a:pt x="61" y="134"/>
                      <a:pt x="85" y="134"/>
                    </a:cubicBezTo>
                    <a:cubicBezTo>
                      <a:pt x="108" y="134"/>
                      <a:pt x="127" y="114"/>
                      <a:pt x="127" y="89"/>
                    </a:cubicBezTo>
                    <a:cubicBezTo>
                      <a:pt x="127" y="64"/>
                      <a:pt x="108" y="45"/>
                      <a:pt x="85" y="45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735520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2" val="True"/>
  <p:tag name="THINKCELLPRESENTATIONDONOTDELETE" val="&lt;?xml version=&quot;1.0&quot; encoding=&quot;UTF-16&quot; standalone=&quot;yes&quot;?&gt;&lt;root reqver=&quot;24162&quot;&gt;&lt;version val=&quot;270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3.14046721000000017554E+00&quot;&gt;&lt;m_msothmcolidx val=&quot;0&quot;/&gt;&lt;m_rgb r=&quot;CD&quot; g=&quot;20&quot; b=&quot;2C&quot;/&gt;&lt;m_nBrightness tagver0=&quot;26206&quot; tagname0=&quot;m_nBrightnessUNRECOGNIZED&quot; val=&quot;0&quot;/&gt;&lt;/elem&gt;&lt;elem m_fUsage=&quot;1.77252048900000058751E+00&quot;&gt;&lt;m_msothmcolidx val=&quot;0&quot;/&gt;&lt;m_rgb r=&quot;A3&quot; g=&quot;B3&quot; b=&quot;00&quot;/&gt;&lt;m_nBrightness tagver0=&quot;26206&quot; tagname0=&quot;m_nBrightnessUNRECOGNIZED&quot; val=&quot;0&quot;/&gt;&lt;/elem&gt;&lt;elem m_fUsage=&quot;1.35841634010000023025E+00&quot;&gt;&lt;m_msothmcolidx val=&quot;0&quot;/&gt;&lt;m_rgb r=&quot;66&quot; g=&quot;66&quot; b=&quot;66&quot;/&gt;&lt;m_nBrightness tagver0=&quot;26206&quot; tagname0=&quot;m_nBrightnessUNRECOGNIZED&quot; val=&quot;0&quot;/&gt;&lt;/elem&gt;&lt;elem m_fUsage=&quot;5.90490000000000181402E-01&quot;&gt;&lt;m_msothmcolidx val=&quot;0&quot;/&gt;&lt;m_rgb r=&quot;F2&quot; g=&quot;7F&quot; b=&quot;0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Accent2ColorBoldText"/>
  <p:tag name="PREVIOUSNAME" val="C:\Users\sivaraman ulaganatha\Desktop\7\1903-178699\d\20190321_Innovate Europe MGI Bruegel (1)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bkg1WyQ6G1bc88Jp0B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ebYqT2QKSdYVBzOIufr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54l41TSIqiNwpPdblCT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Fb2FVtQZGORBdft3_Xw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HuvXXfS1uyU9hlNZlbL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j1nRUQTCC4NMRTwPb8s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eJhhdfSeGEaApZ3BYB2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.fPY5zTAy9v6YEKNVtF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zrlaBiQyS_k6_9LROdy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FH1rBPQPiJdl29aDhpO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7NWR2kQl202lJUsO7ov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x8igovTLem3oVwSnas2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gchj9jQA.bcoUmmB1zI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wnftIUQeWMoTcEGiTx5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WfLYoQS8WHc9ToDAP6q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PT.sF0R96WdZH2y8Q_T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BktDeQRQWkBAZvh.12G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N2BYFYREi6pLeEZc_Nj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X4mU6OTp6cGcCUqulUx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ekZzrtQW2JOCBpVDwhM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HuvXXfS1uyU9hlNZlb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jiu.9tRDmNIw2xZQ3D3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FqCaP2R.2x7KgyiiRcF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hgefHXSviwv.vIi83aG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Bt2.VLSyKTzIZNJGtnP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7ls9HURE6.MI35P93Za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ZawBtwRPOrzEAF2A6wa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81RKBBRrCshe1M8Ch97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wohHtASFi8FJY3MeKr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evW1RLQkyUc1qj3k8us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KfIeCdQpiUM8d3zwvh9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SVRiWkS_SGbGDyMt_xi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LKYsUxTmm_owUjmmXyP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v3R2OrRBSlhm9pdOm87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Moj5mcT72C7vWiOo3We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3uGRutRhOOgzNFOfsOT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SmxCYkSJmooKkNfAoF4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t1btjgT96ovpZnwlUgK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.UpBUuST2aNMGcMDEYu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3IM9MFESzyPnmLLbQ_0w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27o85FSVWAqM.TfKhTt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ol1XB1RZiYnNZxr1xLE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FaGaVsR0WBVfzH6JdLU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D_6qAQRA29qORiPhhzc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mJ7.oiRnmfoZQIIQjPh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bTmKqrTgCPFS08WVEAM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IADzoQgimRSGr.2GU7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OlY2IRRK6J3oEtLeoSF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k3hqfpTTScglhqN3ySC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e24QrMS0C96H_qMcdz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1PrlqjQQaF5v3ASJ4fb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plYtlcRZCEszKhdhic1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xcJKC6SpyX.7Zvh1TV9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BAAA8DA-AFC5-4F8A-BF34-733F303E9EE7}" vid="{C83A2FBA-1D83-4DE4-A7E3-439E0B148B18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Wide</Template>
  <TotalTime>0</TotalTime>
  <Words>294</Words>
  <Application>Microsoft Office PowerPoint</Application>
  <PresentationFormat>Custom</PresentationFormat>
  <Paragraphs>109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Lucida Grande</vt:lpstr>
      <vt:lpstr>Firm Format - template_Blue</vt:lpstr>
      <vt:lpstr>think-cell Slide</vt:lpstr>
      <vt:lpstr>Playing catch-up or changing the rules of the game for European innovation?</vt:lpstr>
      <vt:lpstr>There is a strong – and increasing – superstar effect Average economic profit per firm in each decile of large firms $ million (2016 dollars)</vt:lpstr>
      <vt:lpstr>Superstars seem to matter for innovation</vt:lpstr>
      <vt:lpstr>Europe is losing share of large superstar companies</vt:lpstr>
      <vt:lpstr>Could Europe play to its strengths despite fragmentation and change the rules of the game?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9-01-15T17:59:12Z</dcterms:created>
  <dcterms:modified xsi:type="dcterms:W3CDTF">2019-03-20T10:57:08Z</dcterms:modified>
  <cp:category/>
  <cp:contentStatus/>
  <dc:language/>
  <cp:version/>
</cp:coreProperties>
</file>